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omments/modernComment_7FFFCCA2_C86F2C08.xml" ContentType="application/vnd.ms-powerpoint.comment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2"/>
  </p:notesMasterIdLst>
  <p:sldIdLst>
    <p:sldId id="1273" r:id="rId5"/>
    <p:sldId id="2147470497" r:id="rId6"/>
    <p:sldId id="2147470498" r:id="rId7"/>
    <p:sldId id="2147470518" r:id="rId8"/>
    <p:sldId id="1565" r:id="rId9"/>
    <p:sldId id="1564" r:id="rId10"/>
    <p:sldId id="1569" r:id="rId11"/>
    <p:sldId id="1570" r:id="rId12"/>
    <p:sldId id="1571" r:id="rId13"/>
    <p:sldId id="1482" r:id="rId14"/>
    <p:sldId id="2147470502" r:id="rId15"/>
    <p:sldId id="2147470503" r:id="rId16"/>
    <p:sldId id="2147470504" r:id="rId17"/>
    <p:sldId id="2147470499" r:id="rId18"/>
    <p:sldId id="2147470514" r:id="rId19"/>
    <p:sldId id="2147470515" r:id="rId20"/>
    <p:sldId id="310" r:id="rId21"/>
  </p:sldIdLst>
  <p:sldSz cx="12192000" cy="6858000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235B59F-1DAE-4009-9E44-B124C0AB7118}">
          <p14:sldIdLst>
            <p14:sldId id="1273"/>
            <p14:sldId id="2147470497"/>
            <p14:sldId id="2147470498"/>
          </p14:sldIdLst>
        </p14:section>
        <p14:section name="Section 1" id="{AAA989D9-2A81-4A18-BE96-AEDA853CDF38}">
          <p14:sldIdLst>
            <p14:sldId id="2147470518"/>
            <p14:sldId id="1565"/>
            <p14:sldId id="1564"/>
            <p14:sldId id="1569"/>
            <p14:sldId id="1570"/>
            <p14:sldId id="1571"/>
            <p14:sldId id="1482"/>
            <p14:sldId id="2147470502"/>
            <p14:sldId id="2147470503"/>
            <p14:sldId id="2147470504"/>
            <p14:sldId id="2147470499"/>
            <p14:sldId id="2147470514"/>
            <p14:sldId id="2147470515"/>
          </p14:sldIdLst>
        </p14:section>
        <p14:section name="Section8" id="{206368F3-9EAF-4469-BDBB-663A55986936}">
          <p14:sldIdLst>
            <p14:sldId id="3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D864A01-FE78-8DE4-4C88-D1CEDECED5C1}" name="Aashish Pandey" initials="AP" userId="S::aashish@bluedataconsulting.in::341f317d-6b43-432f-b17f-fd51a4912ac2" providerId="AD"/>
  <p188:author id="{7BF29B3F-3C2F-7F11-ECF5-894873F8C38F}" name="Krishna  Patel" initials="KP" userId="S::krishna.patel@bluedataconsulting.in::ed2200d0-4eed-40c6-ab36-78bc62005773" providerId="AD"/>
  <p188:author id="{6BD92056-747C-FD22-006B-B2F26694C8CF}" name="Anshu Pandey" initials="AP" userId="S::anshu@bluedataconsulting.in::37883d53-0acc-4b4f-998c-de7c94b25306" providerId="AD"/>
  <p188:author id="{E36005B2-E972-ACF5-6047-1BB9DDC08031}" name="Anand Singh" initials="AS" userId="S::anand.singh@bluedataconsulting.in::024e4842-ae34-4cb2-9023-4f477d26b9d9" providerId="AD"/>
  <p188:author id="{FCABC2F7-0639-80BF-CB0B-A8496E0F5E8B}" name="Divya Rank" initials="DR" userId="S::divya.rank@bluedataconsulting.in::8a86f94f-bc51-45b1-baba-7f5d306072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2F2"/>
    <a:srgbClr val="ECFDF5"/>
    <a:srgbClr val="FFFBEB"/>
    <a:srgbClr val="EFF6FF"/>
    <a:srgbClr val="FFFFFF"/>
    <a:srgbClr val="0046AD"/>
    <a:srgbClr val="FAB434"/>
    <a:srgbClr val="92C1E9"/>
    <a:srgbClr val="0B253B"/>
    <a:srgbClr val="C06D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17AF7F-858B-4AB1-A500-5ACF4155F568}" v="1101" dt="2025-06-19T06:38:55.210"/>
    <p1510:client id="{46436DBC-C3C7-4976-88D1-806EBA5A7012}" v="33" dt="2025-06-18T04:56:24.2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248" autoAdjust="0"/>
  </p:normalViewPr>
  <p:slideViewPr>
    <p:cSldViewPr snapToGrid="0">
      <p:cViewPr varScale="1">
        <p:scale>
          <a:sx n="73" d="100"/>
          <a:sy n="73" d="100"/>
        </p:scale>
        <p:origin x="873" y="267"/>
      </p:cViewPr>
      <p:guideLst>
        <p:guide orient="horz" pos="213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rishna Sharma" userId="daa697d5-8440-4694-9c7d-792884c08b9c" providerId="ADAL" clId="{3A17AF7F-858B-4AB1-A500-5ACF4155F568}"/>
    <pc:docChg chg="undo redo custSel addSld delSld modSld sldOrd modSection">
      <pc:chgData name="Krishna Sharma" userId="daa697d5-8440-4694-9c7d-792884c08b9c" providerId="ADAL" clId="{3A17AF7F-858B-4AB1-A500-5ACF4155F568}" dt="2025-06-19T06:38:55.210" v="2148" actId="18131"/>
      <pc:docMkLst>
        <pc:docMk/>
      </pc:docMkLst>
      <pc:sldChg chg="modSp mod">
        <pc:chgData name="Krishna Sharma" userId="daa697d5-8440-4694-9c7d-792884c08b9c" providerId="ADAL" clId="{3A17AF7F-858B-4AB1-A500-5ACF4155F568}" dt="2025-06-17T11:42:31.280" v="1051" actId="2711"/>
        <pc:sldMkLst>
          <pc:docMk/>
          <pc:sldMk cId="2282331957" sldId="262"/>
        </pc:sldMkLst>
        <pc:spChg chg="mod">
          <ac:chgData name="Krishna Sharma" userId="daa697d5-8440-4694-9c7d-792884c08b9c" providerId="ADAL" clId="{3A17AF7F-858B-4AB1-A500-5ACF4155F568}" dt="2025-06-17T11:42:31.280" v="1051" actId="2711"/>
          <ac:spMkLst>
            <pc:docMk/>
            <pc:sldMk cId="2282331957" sldId="262"/>
            <ac:spMk id="2" creationId="{35454B52-9638-52B6-19C1-C64920F07B94}"/>
          </ac:spMkLst>
        </pc:spChg>
        <pc:spChg chg="mod">
          <ac:chgData name="Krishna Sharma" userId="daa697d5-8440-4694-9c7d-792884c08b9c" providerId="ADAL" clId="{3A17AF7F-858B-4AB1-A500-5ACF4155F568}" dt="2025-06-17T11:42:31.280" v="1051" actId="2711"/>
          <ac:spMkLst>
            <pc:docMk/>
            <pc:sldMk cId="2282331957" sldId="262"/>
            <ac:spMk id="4" creationId="{A83300BD-6BE4-AC58-BB5B-701B96882929}"/>
          </ac:spMkLst>
        </pc:spChg>
        <pc:spChg chg="mod">
          <ac:chgData name="Krishna Sharma" userId="daa697d5-8440-4694-9c7d-792884c08b9c" providerId="ADAL" clId="{3A17AF7F-858B-4AB1-A500-5ACF4155F568}" dt="2025-06-17T11:42:31.280" v="1051" actId="2711"/>
          <ac:spMkLst>
            <pc:docMk/>
            <pc:sldMk cId="2282331957" sldId="262"/>
            <ac:spMk id="9" creationId="{43986088-41C2-B2CB-CC32-64E283422548}"/>
          </ac:spMkLst>
        </pc:spChg>
        <pc:spChg chg="mod">
          <ac:chgData name="Krishna Sharma" userId="daa697d5-8440-4694-9c7d-792884c08b9c" providerId="ADAL" clId="{3A17AF7F-858B-4AB1-A500-5ACF4155F568}" dt="2025-06-17T11:42:31.280" v="1051" actId="2711"/>
          <ac:spMkLst>
            <pc:docMk/>
            <pc:sldMk cId="2282331957" sldId="262"/>
            <ac:spMk id="13" creationId="{FB7A2D7F-DDF4-053C-EE7E-077621F965A7}"/>
          </ac:spMkLst>
        </pc:spChg>
        <pc:spChg chg="mod">
          <ac:chgData name="Krishna Sharma" userId="daa697d5-8440-4694-9c7d-792884c08b9c" providerId="ADAL" clId="{3A17AF7F-858B-4AB1-A500-5ACF4155F568}" dt="2025-06-17T11:42:31.280" v="1051" actId="2711"/>
          <ac:spMkLst>
            <pc:docMk/>
            <pc:sldMk cId="2282331957" sldId="262"/>
            <ac:spMk id="15" creationId="{441BCBE2-D31B-672C-3BCC-1AC744207A94}"/>
          </ac:spMkLst>
        </pc:spChg>
        <pc:spChg chg="mod">
          <ac:chgData name="Krishna Sharma" userId="daa697d5-8440-4694-9c7d-792884c08b9c" providerId="ADAL" clId="{3A17AF7F-858B-4AB1-A500-5ACF4155F568}" dt="2025-06-17T11:42:31.280" v="1051" actId="2711"/>
          <ac:spMkLst>
            <pc:docMk/>
            <pc:sldMk cId="2282331957" sldId="262"/>
            <ac:spMk id="18" creationId="{BA2F60B9-0B9E-BA62-621F-2C66F1E3C6EF}"/>
          </ac:spMkLst>
        </pc:spChg>
        <pc:spChg chg="mod">
          <ac:chgData name="Krishna Sharma" userId="daa697d5-8440-4694-9c7d-792884c08b9c" providerId="ADAL" clId="{3A17AF7F-858B-4AB1-A500-5ACF4155F568}" dt="2025-06-17T11:42:31.280" v="1051" actId="2711"/>
          <ac:spMkLst>
            <pc:docMk/>
            <pc:sldMk cId="2282331957" sldId="262"/>
            <ac:spMk id="19" creationId="{437B6A3F-A57D-511F-27F9-F16760D28B0B}"/>
          </ac:spMkLst>
        </pc:spChg>
        <pc:spChg chg="mod">
          <ac:chgData name="Krishna Sharma" userId="daa697d5-8440-4694-9c7d-792884c08b9c" providerId="ADAL" clId="{3A17AF7F-858B-4AB1-A500-5ACF4155F568}" dt="2025-06-17T11:42:31.280" v="1051" actId="2711"/>
          <ac:spMkLst>
            <pc:docMk/>
            <pc:sldMk cId="2282331957" sldId="262"/>
            <ac:spMk id="26" creationId="{EFCAAAB8-52EE-F587-3C22-A0508E1096BF}"/>
          </ac:spMkLst>
        </pc:spChg>
        <pc:spChg chg="mod">
          <ac:chgData name="Krishna Sharma" userId="daa697d5-8440-4694-9c7d-792884c08b9c" providerId="ADAL" clId="{3A17AF7F-858B-4AB1-A500-5ACF4155F568}" dt="2025-06-17T11:42:31.280" v="1051" actId="2711"/>
          <ac:spMkLst>
            <pc:docMk/>
            <pc:sldMk cId="2282331957" sldId="262"/>
            <ac:spMk id="27" creationId="{81AE5BB2-C272-61BE-6B2B-D15AB291FFF3}"/>
          </ac:spMkLst>
        </pc:spChg>
        <pc:spChg chg="mod">
          <ac:chgData name="Krishna Sharma" userId="daa697d5-8440-4694-9c7d-792884c08b9c" providerId="ADAL" clId="{3A17AF7F-858B-4AB1-A500-5ACF4155F568}" dt="2025-06-17T11:42:31.280" v="1051" actId="2711"/>
          <ac:spMkLst>
            <pc:docMk/>
            <pc:sldMk cId="2282331957" sldId="262"/>
            <ac:spMk id="28" creationId="{3BDF4142-5E72-215C-6205-AC8B811B550C}"/>
          </ac:spMkLst>
        </pc:spChg>
      </pc:sldChg>
      <pc:sldChg chg="modSp mod">
        <pc:chgData name="Krishna Sharma" userId="daa697d5-8440-4694-9c7d-792884c08b9c" providerId="ADAL" clId="{3A17AF7F-858B-4AB1-A500-5ACF4155F568}" dt="2025-06-19T05:27:45.792" v="2145" actId="14826"/>
        <pc:sldMkLst>
          <pc:docMk/>
          <pc:sldMk cId="4195937019" sldId="1283"/>
        </pc:sldMkLst>
        <pc:spChg chg="mod">
          <ac:chgData name="Krishna Sharma" userId="daa697d5-8440-4694-9c7d-792884c08b9c" providerId="ADAL" clId="{3A17AF7F-858B-4AB1-A500-5ACF4155F568}" dt="2025-06-17T11:42:54.881" v="1053" actId="2711"/>
          <ac:spMkLst>
            <pc:docMk/>
            <pc:sldMk cId="4195937019" sldId="1283"/>
            <ac:spMk id="2" creationId="{742E63C4-5843-AB38-C847-430624D55520}"/>
          </ac:spMkLst>
        </pc:spChg>
        <pc:spChg chg="mod">
          <ac:chgData name="Krishna Sharma" userId="daa697d5-8440-4694-9c7d-792884c08b9c" providerId="ADAL" clId="{3A17AF7F-858B-4AB1-A500-5ACF4155F568}" dt="2025-06-17T11:42:59.489" v="1055" actId="20577"/>
          <ac:spMkLst>
            <pc:docMk/>
            <pc:sldMk cId="4195937019" sldId="1283"/>
            <ac:spMk id="3" creationId="{7161117F-C4BA-5D48-403A-58D949CEE7FB}"/>
          </ac:spMkLst>
        </pc:spChg>
        <pc:spChg chg="mod">
          <ac:chgData name="Krishna Sharma" userId="daa697d5-8440-4694-9c7d-792884c08b9c" providerId="ADAL" clId="{3A17AF7F-858B-4AB1-A500-5ACF4155F568}" dt="2025-06-17T11:42:54.881" v="1053" actId="2711"/>
          <ac:spMkLst>
            <pc:docMk/>
            <pc:sldMk cId="4195937019" sldId="1283"/>
            <ac:spMk id="6" creationId="{49722518-FADC-1970-D1AA-8765A03100AC}"/>
          </ac:spMkLst>
        </pc:spChg>
        <pc:spChg chg="mod">
          <ac:chgData name="Krishna Sharma" userId="daa697d5-8440-4694-9c7d-792884c08b9c" providerId="ADAL" clId="{3A17AF7F-858B-4AB1-A500-5ACF4155F568}" dt="2025-06-17T11:42:54.881" v="1053" actId="2711"/>
          <ac:spMkLst>
            <pc:docMk/>
            <pc:sldMk cId="4195937019" sldId="1283"/>
            <ac:spMk id="8" creationId="{03AED8E2-B341-1CA5-4CEC-86B53F89BCCA}"/>
          </ac:spMkLst>
        </pc:spChg>
        <pc:spChg chg="mod">
          <ac:chgData name="Krishna Sharma" userId="daa697d5-8440-4694-9c7d-792884c08b9c" providerId="ADAL" clId="{3A17AF7F-858B-4AB1-A500-5ACF4155F568}" dt="2025-06-17T11:42:54.881" v="1053" actId="2711"/>
          <ac:spMkLst>
            <pc:docMk/>
            <pc:sldMk cId="4195937019" sldId="1283"/>
            <ac:spMk id="11" creationId="{10BAD919-B03A-4C6B-EA56-ADD6098E4C03}"/>
          </ac:spMkLst>
        </pc:spChg>
        <pc:spChg chg="mod">
          <ac:chgData name="Krishna Sharma" userId="daa697d5-8440-4694-9c7d-792884c08b9c" providerId="ADAL" clId="{3A17AF7F-858B-4AB1-A500-5ACF4155F568}" dt="2025-06-17T11:42:54.881" v="1053" actId="2711"/>
          <ac:spMkLst>
            <pc:docMk/>
            <pc:sldMk cId="4195937019" sldId="1283"/>
            <ac:spMk id="16" creationId="{E05AE586-83B5-E04F-B2E3-11FCC0BB76B0}"/>
          </ac:spMkLst>
        </pc:spChg>
        <pc:picChg chg="mod modCrop">
          <ac:chgData name="Krishna Sharma" userId="daa697d5-8440-4694-9c7d-792884c08b9c" providerId="ADAL" clId="{3A17AF7F-858B-4AB1-A500-5ACF4155F568}" dt="2025-06-19T05:27:45.792" v="2145" actId="14826"/>
          <ac:picMkLst>
            <pc:docMk/>
            <pc:sldMk cId="4195937019" sldId="1283"/>
            <ac:picMk id="12" creationId="{EBBB47C9-AAF2-D7C8-42A5-7114B700E216}"/>
          </ac:picMkLst>
        </pc:picChg>
      </pc:sldChg>
      <pc:sldChg chg="modSp mod">
        <pc:chgData name="Krishna Sharma" userId="daa697d5-8440-4694-9c7d-792884c08b9c" providerId="ADAL" clId="{3A17AF7F-858B-4AB1-A500-5ACF4155F568}" dt="2025-06-18T05:47:43.350" v="1263" actId="2711"/>
        <pc:sldMkLst>
          <pc:docMk/>
          <pc:sldMk cId="90865873" sldId="1284"/>
        </pc:sldMkLst>
        <pc:spChg chg="mod">
          <ac:chgData name="Krishna Sharma" userId="daa697d5-8440-4694-9c7d-792884c08b9c" providerId="ADAL" clId="{3A17AF7F-858B-4AB1-A500-5ACF4155F568}" dt="2025-06-18T05:47:43.350" v="1263" actId="2711"/>
          <ac:spMkLst>
            <pc:docMk/>
            <pc:sldMk cId="90865873" sldId="1284"/>
            <ac:spMk id="4" creationId="{70F81B73-255A-D540-60CE-C494924B1B70}"/>
          </ac:spMkLst>
        </pc:spChg>
        <pc:spChg chg="mod">
          <ac:chgData name="Krishna Sharma" userId="daa697d5-8440-4694-9c7d-792884c08b9c" providerId="ADAL" clId="{3A17AF7F-858B-4AB1-A500-5ACF4155F568}" dt="2025-06-18T05:47:43.350" v="1263" actId="2711"/>
          <ac:spMkLst>
            <pc:docMk/>
            <pc:sldMk cId="90865873" sldId="1284"/>
            <ac:spMk id="6" creationId="{44C5FEED-BA93-D15A-BF13-0B49EA7B6D17}"/>
          </ac:spMkLst>
        </pc:spChg>
        <pc:spChg chg="mod">
          <ac:chgData name="Krishna Sharma" userId="daa697d5-8440-4694-9c7d-792884c08b9c" providerId="ADAL" clId="{3A17AF7F-858B-4AB1-A500-5ACF4155F568}" dt="2025-06-18T05:47:43.350" v="1263" actId="2711"/>
          <ac:spMkLst>
            <pc:docMk/>
            <pc:sldMk cId="90865873" sldId="1284"/>
            <ac:spMk id="7" creationId="{411FB8A7-651B-5E32-EC09-50774EF8DD49}"/>
          </ac:spMkLst>
        </pc:spChg>
        <pc:spChg chg="mod">
          <ac:chgData name="Krishna Sharma" userId="daa697d5-8440-4694-9c7d-792884c08b9c" providerId="ADAL" clId="{3A17AF7F-858B-4AB1-A500-5ACF4155F568}" dt="2025-06-18T05:47:43.350" v="1263" actId="2711"/>
          <ac:spMkLst>
            <pc:docMk/>
            <pc:sldMk cId="90865873" sldId="1284"/>
            <ac:spMk id="8" creationId="{2A42594D-76D0-35D7-D7B9-79D314D279BC}"/>
          </ac:spMkLst>
        </pc:spChg>
        <pc:spChg chg="mod">
          <ac:chgData name="Krishna Sharma" userId="daa697d5-8440-4694-9c7d-792884c08b9c" providerId="ADAL" clId="{3A17AF7F-858B-4AB1-A500-5ACF4155F568}" dt="2025-06-18T05:47:43.350" v="1263" actId="2711"/>
          <ac:spMkLst>
            <pc:docMk/>
            <pc:sldMk cId="90865873" sldId="1284"/>
            <ac:spMk id="9" creationId="{D0D887C5-81DF-19B4-ADDB-8FB4371BBCFE}"/>
          </ac:spMkLst>
        </pc:spChg>
        <pc:spChg chg="mod">
          <ac:chgData name="Krishna Sharma" userId="daa697d5-8440-4694-9c7d-792884c08b9c" providerId="ADAL" clId="{3A17AF7F-858B-4AB1-A500-5ACF4155F568}" dt="2025-06-18T05:47:43.350" v="1263" actId="2711"/>
          <ac:spMkLst>
            <pc:docMk/>
            <pc:sldMk cId="90865873" sldId="1284"/>
            <ac:spMk id="10" creationId="{BA1684D8-65BC-CE30-F17C-161FDC15DC1A}"/>
          </ac:spMkLst>
        </pc:spChg>
        <pc:spChg chg="mod">
          <ac:chgData name="Krishna Sharma" userId="daa697d5-8440-4694-9c7d-792884c08b9c" providerId="ADAL" clId="{3A17AF7F-858B-4AB1-A500-5ACF4155F568}" dt="2025-06-18T05:47:43.350" v="1263" actId="2711"/>
          <ac:spMkLst>
            <pc:docMk/>
            <pc:sldMk cId="90865873" sldId="1284"/>
            <ac:spMk id="11" creationId="{1873593B-844F-1B86-5DBF-022258D03508}"/>
          </ac:spMkLst>
        </pc:spChg>
        <pc:spChg chg="mod">
          <ac:chgData name="Krishna Sharma" userId="daa697d5-8440-4694-9c7d-792884c08b9c" providerId="ADAL" clId="{3A17AF7F-858B-4AB1-A500-5ACF4155F568}" dt="2025-06-18T05:47:43.350" v="1263" actId="2711"/>
          <ac:spMkLst>
            <pc:docMk/>
            <pc:sldMk cId="90865873" sldId="1284"/>
            <ac:spMk id="13" creationId="{412E8125-6BC9-707D-5684-EB8B87181AE0}"/>
          </ac:spMkLst>
        </pc:spChg>
        <pc:spChg chg="mod">
          <ac:chgData name="Krishna Sharma" userId="daa697d5-8440-4694-9c7d-792884c08b9c" providerId="ADAL" clId="{3A17AF7F-858B-4AB1-A500-5ACF4155F568}" dt="2025-06-18T05:47:43.350" v="1263" actId="2711"/>
          <ac:spMkLst>
            <pc:docMk/>
            <pc:sldMk cId="90865873" sldId="1284"/>
            <ac:spMk id="14" creationId="{42AC864F-0E3A-4C81-19B2-7F47E48BACCA}"/>
          </ac:spMkLst>
        </pc:spChg>
        <pc:spChg chg="mod">
          <ac:chgData name="Krishna Sharma" userId="daa697d5-8440-4694-9c7d-792884c08b9c" providerId="ADAL" clId="{3A17AF7F-858B-4AB1-A500-5ACF4155F568}" dt="2025-06-18T05:47:43.350" v="1263" actId="2711"/>
          <ac:spMkLst>
            <pc:docMk/>
            <pc:sldMk cId="90865873" sldId="1284"/>
            <ac:spMk id="15" creationId="{5C04631E-0DBB-7893-7FBE-0DE3A1B8D4A6}"/>
          </ac:spMkLst>
        </pc:spChg>
      </pc:sldChg>
      <pc:sldChg chg="modSp mod">
        <pc:chgData name="Krishna Sharma" userId="daa697d5-8440-4694-9c7d-792884c08b9c" providerId="ADAL" clId="{3A17AF7F-858B-4AB1-A500-5ACF4155F568}" dt="2025-06-18T05:47:33.101" v="1262" actId="2711"/>
        <pc:sldMkLst>
          <pc:docMk/>
          <pc:sldMk cId="596106588" sldId="1287"/>
        </pc:sldMkLst>
        <pc:spChg chg="mod">
          <ac:chgData name="Krishna Sharma" userId="daa697d5-8440-4694-9c7d-792884c08b9c" providerId="ADAL" clId="{3A17AF7F-858B-4AB1-A500-5ACF4155F568}" dt="2025-06-18T05:47:33.101" v="1262" actId="2711"/>
          <ac:spMkLst>
            <pc:docMk/>
            <pc:sldMk cId="596106588" sldId="1287"/>
            <ac:spMk id="2" creationId="{15E3B3A6-D6C0-A52D-127A-B2F76C51502C}"/>
          </ac:spMkLst>
        </pc:spChg>
        <pc:spChg chg="mod">
          <ac:chgData name="Krishna Sharma" userId="daa697d5-8440-4694-9c7d-792884c08b9c" providerId="ADAL" clId="{3A17AF7F-858B-4AB1-A500-5ACF4155F568}" dt="2025-06-18T05:47:33.101" v="1262" actId="2711"/>
          <ac:spMkLst>
            <pc:docMk/>
            <pc:sldMk cId="596106588" sldId="1287"/>
            <ac:spMk id="3" creationId="{E0673B67-0D89-AD21-96FE-E133033A908B}"/>
          </ac:spMkLst>
        </pc:spChg>
        <pc:spChg chg="mod">
          <ac:chgData name="Krishna Sharma" userId="daa697d5-8440-4694-9c7d-792884c08b9c" providerId="ADAL" clId="{3A17AF7F-858B-4AB1-A500-5ACF4155F568}" dt="2025-06-18T05:47:33.101" v="1262" actId="2711"/>
          <ac:spMkLst>
            <pc:docMk/>
            <pc:sldMk cId="596106588" sldId="1287"/>
            <ac:spMk id="6" creationId="{7D89F09E-81A3-F6FF-4864-BA6C84D5D1F2}"/>
          </ac:spMkLst>
        </pc:spChg>
        <pc:spChg chg="mod">
          <ac:chgData name="Krishna Sharma" userId="daa697d5-8440-4694-9c7d-792884c08b9c" providerId="ADAL" clId="{3A17AF7F-858B-4AB1-A500-5ACF4155F568}" dt="2025-06-18T05:47:33.101" v="1262" actId="2711"/>
          <ac:spMkLst>
            <pc:docMk/>
            <pc:sldMk cId="596106588" sldId="1287"/>
            <ac:spMk id="7" creationId="{9C927638-CF92-64DB-A791-8058174B8CC1}"/>
          </ac:spMkLst>
        </pc:spChg>
        <pc:spChg chg="mod">
          <ac:chgData name="Krishna Sharma" userId="daa697d5-8440-4694-9c7d-792884c08b9c" providerId="ADAL" clId="{3A17AF7F-858B-4AB1-A500-5ACF4155F568}" dt="2025-06-18T05:47:33.101" v="1262" actId="2711"/>
          <ac:spMkLst>
            <pc:docMk/>
            <pc:sldMk cId="596106588" sldId="1287"/>
            <ac:spMk id="8" creationId="{A0FF35D3-B08D-37AA-E736-D24299113586}"/>
          </ac:spMkLst>
        </pc:spChg>
        <pc:spChg chg="mod">
          <ac:chgData name="Krishna Sharma" userId="daa697d5-8440-4694-9c7d-792884c08b9c" providerId="ADAL" clId="{3A17AF7F-858B-4AB1-A500-5ACF4155F568}" dt="2025-06-18T05:47:33.101" v="1262" actId="2711"/>
          <ac:spMkLst>
            <pc:docMk/>
            <pc:sldMk cId="596106588" sldId="1287"/>
            <ac:spMk id="9" creationId="{B1D4C2F4-6ECE-51FF-86A7-89F9277BF4F7}"/>
          </ac:spMkLst>
        </pc:spChg>
        <pc:spChg chg="mod">
          <ac:chgData name="Krishna Sharma" userId="daa697d5-8440-4694-9c7d-792884c08b9c" providerId="ADAL" clId="{3A17AF7F-858B-4AB1-A500-5ACF4155F568}" dt="2025-06-18T05:47:33.101" v="1262" actId="2711"/>
          <ac:spMkLst>
            <pc:docMk/>
            <pc:sldMk cId="596106588" sldId="1287"/>
            <ac:spMk id="10" creationId="{04AA942C-A879-14DB-F158-437DE583C281}"/>
          </ac:spMkLst>
        </pc:spChg>
        <pc:spChg chg="mod">
          <ac:chgData name="Krishna Sharma" userId="daa697d5-8440-4694-9c7d-792884c08b9c" providerId="ADAL" clId="{3A17AF7F-858B-4AB1-A500-5ACF4155F568}" dt="2025-06-18T05:47:33.101" v="1262" actId="2711"/>
          <ac:spMkLst>
            <pc:docMk/>
            <pc:sldMk cId="596106588" sldId="1287"/>
            <ac:spMk id="11" creationId="{36FD5F64-65B7-3873-58C9-959D8AD35DE1}"/>
          </ac:spMkLst>
        </pc:spChg>
      </pc:sldChg>
      <pc:sldChg chg="addSp delSp modSp mod">
        <pc:chgData name="Krishna Sharma" userId="daa697d5-8440-4694-9c7d-792884c08b9c" providerId="ADAL" clId="{3A17AF7F-858B-4AB1-A500-5ACF4155F568}" dt="2025-06-18T06:32:57.013" v="1458" actId="1036"/>
        <pc:sldMkLst>
          <pc:docMk/>
          <pc:sldMk cId="2250755200" sldId="1289"/>
        </pc:sldMkLst>
        <pc:spChg chg="mod">
          <ac:chgData name="Krishna Sharma" userId="daa697d5-8440-4694-9c7d-792884c08b9c" providerId="ADAL" clId="{3A17AF7F-858B-4AB1-A500-5ACF4155F568}" dt="2025-06-18T06:31:52.277" v="1426" actId="2711"/>
          <ac:spMkLst>
            <pc:docMk/>
            <pc:sldMk cId="2250755200" sldId="1289"/>
            <ac:spMk id="2" creationId="{15A34ECB-C0A2-44A5-549A-CFA73745F49F}"/>
          </ac:spMkLst>
        </pc:spChg>
        <pc:spChg chg="mod">
          <ac:chgData name="Krishna Sharma" userId="daa697d5-8440-4694-9c7d-792884c08b9c" providerId="ADAL" clId="{3A17AF7F-858B-4AB1-A500-5ACF4155F568}" dt="2025-06-18T06:31:52.277" v="1426" actId="2711"/>
          <ac:spMkLst>
            <pc:docMk/>
            <pc:sldMk cId="2250755200" sldId="1289"/>
            <ac:spMk id="4" creationId="{C42115B7-9B82-E62A-777C-94634CC217F5}"/>
          </ac:spMkLst>
        </pc:spChg>
        <pc:spChg chg="mod">
          <ac:chgData name="Krishna Sharma" userId="daa697d5-8440-4694-9c7d-792884c08b9c" providerId="ADAL" clId="{3A17AF7F-858B-4AB1-A500-5ACF4155F568}" dt="2025-06-18T06:31:52.277" v="1426" actId="2711"/>
          <ac:spMkLst>
            <pc:docMk/>
            <pc:sldMk cId="2250755200" sldId="1289"/>
            <ac:spMk id="8" creationId="{36C47306-24C1-D21A-217F-338B1D670E4B}"/>
          </ac:spMkLst>
        </pc:spChg>
        <pc:spChg chg="mod">
          <ac:chgData name="Krishna Sharma" userId="daa697d5-8440-4694-9c7d-792884c08b9c" providerId="ADAL" clId="{3A17AF7F-858B-4AB1-A500-5ACF4155F568}" dt="2025-06-18T06:32:48.983" v="1444" actId="1036"/>
          <ac:spMkLst>
            <pc:docMk/>
            <pc:sldMk cId="2250755200" sldId="1289"/>
            <ac:spMk id="9" creationId="{81E0B57C-7C1A-4F9C-D3AC-AC66C865EC55}"/>
          </ac:spMkLst>
        </pc:spChg>
        <pc:spChg chg="mod">
          <ac:chgData name="Krishna Sharma" userId="daa697d5-8440-4694-9c7d-792884c08b9c" providerId="ADAL" clId="{3A17AF7F-858B-4AB1-A500-5ACF4155F568}" dt="2025-06-18T06:31:52.277" v="1426" actId="2711"/>
          <ac:spMkLst>
            <pc:docMk/>
            <pc:sldMk cId="2250755200" sldId="1289"/>
            <ac:spMk id="10" creationId="{54A8BF6F-780F-B233-3970-47CCF4A35DAE}"/>
          </ac:spMkLst>
        </pc:spChg>
        <pc:spChg chg="mod">
          <ac:chgData name="Krishna Sharma" userId="daa697d5-8440-4694-9c7d-792884c08b9c" providerId="ADAL" clId="{3A17AF7F-858B-4AB1-A500-5ACF4155F568}" dt="2025-06-18T06:32:43.399" v="1438" actId="1036"/>
          <ac:spMkLst>
            <pc:docMk/>
            <pc:sldMk cId="2250755200" sldId="1289"/>
            <ac:spMk id="11" creationId="{7383F84E-554E-DE1C-2B5C-C40544C8D5CF}"/>
          </ac:spMkLst>
        </pc:spChg>
        <pc:spChg chg="mod">
          <ac:chgData name="Krishna Sharma" userId="daa697d5-8440-4694-9c7d-792884c08b9c" providerId="ADAL" clId="{3A17AF7F-858B-4AB1-A500-5ACF4155F568}" dt="2025-06-18T06:31:52.277" v="1426" actId="2711"/>
          <ac:spMkLst>
            <pc:docMk/>
            <pc:sldMk cId="2250755200" sldId="1289"/>
            <ac:spMk id="14" creationId="{9DE4348D-9E25-F5D3-5EC1-41E74B7D5A11}"/>
          </ac:spMkLst>
        </pc:spChg>
        <pc:spChg chg="mod">
          <ac:chgData name="Krishna Sharma" userId="daa697d5-8440-4694-9c7d-792884c08b9c" providerId="ADAL" clId="{3A17AF7F-858B-4AB1-A500-5ACF4155F568}" dt="2025-06-18T06:31:52.277" v="1426" actId="2711"/>
          <ac:spMkLst>
            <pc:docMk/>
            <pc:sldMk cId="2250755200" sldId="1289"/>
            <ac:spMk id="15" creationId="{5F7BF5C4-E10C-BC40-FBFD-AAFD68561897}"/>
          </ac:spMkLst>
        </pc:spChg>
        <pc:spChg chg="add del mod">
          <ac:chgData name="Krishna Sharma" userId="daa697d5-8440-4694-9c7d-792884c08b9c" providerId="ADAL" clId="{3A17AF7F-858B-4AB1-A500-5ACF4155F568}" dt="2025-06-18T06:01:13.108" v="1281" actId="931"/>
          <ac:spMkLst>
            <pc:docMk/>
            <pc:sldMk cId="2250755200" sldId="1289"/>
            <ac:spMk id="16" creationId="{A03A17AF-FC47-9515-D1DC-EF3296E21255}"/>
          </ac:spMkLst>
        </pc:spChg>
        <pc:spChg chg="add del mod">
          <ac:chgData name="Krishna Sharma" userId="daa697d5-8440-4694-9c7d-792884c08b9c" providerId="ADAL" clId="{3A17AF7F-858B-4AB1-A500-5ACF4155F568}" dt="2025-06-18T06:01:27.920" v="1284" actId="14826"/>
          <ac:spMkLst>
            <pc:docMk/>
            <pc:sldMk cId="2250755200" sldId="1289"/>
            <ac:spMk id="19" creationId="{6CA2D0D5-3392-C8FE-DC50-CDD14ACA6526}"/>
          </ac:spMkLst>
        </pc:spChg>
        <pc:spChg chg="add del mod">
          <ac:chgData name="Krishna Sharma" userId="daa697d5-8440-4694-9c7d-792884c08b9c" providerId="ADAL" clId="{3A17AF7F-858B-4AB1-A500-5ACF4155F568}" dt="2025-06-18T06:11:17.171" v="1293" actId="931"/>
          <ac:spMkLst>
            <pc:docMk/>
            <pc:sldMk cId="2250755200" sldId="1289"/>
            <ac:spMk id="21" creationId="{973CA918-6B8B-D850-7CC8-A776FCDEC36C}"/>
          </ac:spMkLst>
        </pc:spChg>
        <pc:grpChg chg="mod">
          <ac:chgData name="Krishna Sharma" userId="daa697d5-8440-4694-9c7d-792884c08b9c" providerId="ADAL" clId="{3A17AF7F-858B-4AB1-A500-5ACF4155F568}" dt="2025-06-18T06:32:57.013" v="1458" actId="1036"/>
          <ac:grpSpMkLst>
            <pc:docMk/>
            <pc:sldMk cId="2250755200" sldId="1289"/>
            <ac:grpSpMk id="5" creationId="{783C3D40-D157-D878-5E81-DA45BDC4C6A2}"/>
          </ac:grpSpMkLst>
        </pc:grpChg>
        <pc:picChg chg="add del">
          <ac:chgData name="Krishna Sharma" userId="daa697d5-8440-4694-9c7d-792884c08b9c" providerId="ADAL" clId="{3A17AF7F-858B-4AB1-A500-5ACF4155F568}" dt="2025-06-18T05:55:49.611" v="1273" actId="478"/>
          <ac:picMkLst>
            <pc:docMk/>
            <pc:sldMk cId="2250755200" sldId="1289"/>
            <ac:picMk id="6" creationId="{2A7BD094-A92A-D4EF-F941-CF83D38F2173}"/>
          </ac:picMkLst>
        </pc:picChg>
        <pc:picChg chg="add del">
          <ac:chgData name="Krishna Sharma" userId="daa697d5-8440-4694-9c7d-792884c08b9c" providerId="ADAL" clId="{3A17AF7F-858B-4AB1-A500-5ACF4155F568}" dt="2025-06-18T05:56:05.083" v="1275" actId="478"/>
          <ac:picMkLst>
            <pc:docMk/>
            <pc:sldMk cId="2250755200" sldId="1289"/>
            <ac:picMk id="7" creationId="{0AAD60DC-A18A-A3E8-489A-5DFF77B9C72D}"/>
          </ac:picMkLst>
        </pc:picChg>
        <pc:picChg chg="del mod">
          <ac:chgData name="Krishna Sharma" userId="daa697d5-8440-4694-9c7d-792884c08b9c" providerId="ADAL" clId="{3A17AF7F-858B-4AB1-A500-5ACF4155F568}" dt="2025-06-18T05:57:03.211" v="1279" actId="478"/>
          <ac:picMkLst>
            <pc:docMk/>
            <pc:sldMk cId="2250755200" sldId="1289"/>
            <ac:picMk id="13" creationId="{340B03C1-E565-3DC0-C7B7-CD0EF5D9F44C}"/>
          </ac:picMkLst>
        </pc:picChg>
        <pc:picChg chg="add del mod modCrop">
          <ac:chgData name="Krishna Sharma" userId="daa697d5-8440-4694-9c7d-792884c08b9c" providerId="ADAL" clId="{3A17AF7F-858B-4AB1-A500-5ACF4155F568}" dt="2025-06-18T06:11:06.142" v="1292" actId="478"/>
          <ac:picMkLst>
            <pc:docMk/>
            <pc:sldMk cId="2250755200" sldId="1289"/>
            <ac:picMk id="18" creationId="{645DCF85-9CAA-0292-41BB-B8C1503BB8E3}"/>
          </ac:picMkLst>
        </pc:picChg>
        <pc:picChg chg="add del">
          <ac:chgData name="Krishna Sharma" userId="daa697d5-8440-4694-9c7d-792884c08b9c" providerId="ADAL" clId="{3A17AF7F-858B-4AB1-A500-5ACF4155F568}" dt="2025-06-18T06:04:24.599" v="1287" actId="478"/>
          <ac:picMkLst>
            <pc:docMk/>
            <pc:sldMk cId="2250755200" sldId="1289"/>
            <ac:picMk id="20" creationId="{5FFD6364-D8BA-61F7-2B2C-83B9E78E29FC}"/>
          </ac:picMkLst>
        </pc:picChg>
        <pc:picChg chg="add mod">
          <ac:chgData name="Krishna Sharma" userId="daa697d5-8440-4694-9c7d-792884c08b9c" providerId="ADAL" clId="{3A17AF7F-858B-4AB1-A500-5ACF4155F568}" dt="2025-06-18T06:11:20.966" v="1296" actId="14826"/>
          <ac:picMkLst>
            <pc:docMk/>
            <pc:sldMk cId="2250755200" sldId="1289"/>
            <ac:picMk id="23" creationId="{53CC33C9-E551-B850-5CD9-5D20681341E8}"/>
          </ac:picMkLst>
        </pc:picChg>
        <pc:picChg chg="add del">
          <ac:chgData name="Krishna Sharma" userId="daa697d5-8440-4694-9c7d-792884c08b9c" providerId="ADAL" clId="{3A17AF7F-858B-4AB1-A500-5ACF4155F568}" dt="2025-06-18T06:11:06.142" v="1292" actId="478"/>
          <ac:picMkLst>
            <pc:docMk/>
            <pc:sldMk cId="2250755200" sldId="1289"/>
            <ac:picMk id="2050" creationId="{60E2FEA7-03E3-4A86-6749-5AC037E1216C}"/>
          </ac:picMkLst>
        </pc:picChg>
      </pc:sldChg>
      <pc:sldChg chg="modSp mod">
        <pc:chgData name="Krishna Sharma" userId="daa697d5-8440-4694-9c7d-792884c08b9c" providerId="ADAL" clId="{3A17AF7F-858B-4AB1-A500-5ACF4155F568}" dt="2025-06-18T07:10:36.393" v="1562" actId="18131"/>
        <pc:sldMkLst>
          <pc:docMk/>
          <pc:sldMk cId="741064419" sldId="1292"/>
        </pc:sldMkLst>
        <pc:spChg chg="mod">
          <ac:chgData name="Krishna Sharma" userId="daa697d5-8440-4694-9c7d-792884c08b9c" providerId="ADAL" clId="{3A17AF7F-858B-4AB1-A500-5ACF4155F568}" dt="2025-06-18T06:33:14.456" v="1459" actId="2711"/>
          <ac:spMkLst>
            <pc:docMk/>
            <pc:sldMk cId="741064419" sldId="1292"/>
            <ac:spMk id="2" creationId="{8DC90BE5-3217-B772-B324-383996836666}"/>
          </ac:spMkLst>
        </pc:spChg>
        <pc:spChg chg="mod">
          <ac:chgData name="Krishna Sharma" userId="daa697d5-8440-4694-9c7d-792884c08b9c" providerId="ADAL" clId="{3A17AF7F-858B-4AB1-A500-5ACF4155F568}" dt="2025-06-18T06:33:14.456" v="1459" actId="2711"/>
          <ac:spMkLst>
            <pc:docMk/>
            <pc:sldMk cId="741064419" sldId="1292"/>
            <ac:spMk id="3" creationId="{1FA730D6-C3AA-BF14-ECE6-E3482D46A5A3}"/>
          </ac:spMkLst>
        </pc:spChg>
        <pc:spChg chg="mod">
          <ac:chgData name="Krishna Sharma" userId="daa697d5-8440-4694-9c7d-792884c08b9c" providerId="ADAL" clId="{3A17AF7F-858B-4AB1-A500-5ACF4155F568}" dt="2025-06-18T06:33:14.456" v="1459" actId="2711"/>
          <ac:spMkLst>
            <pc:docMk/>
            <pc:sldMk cId="741064419" sldId="1292"/>
            <ac:spMk id="6" creationId="{FE945EE1-DF43-9DD8-9C69-72FD685C1034}"/>
          </ac:spMkLst>
        </pc:spChg>
        <pc:spChg chg="mod">
          <ac:chgData name="Krishna Sharma" userId="daa697d5-8440-4694-9c7d-792884c08b9c" providerId="ADAL" clId="{3A17AF7F-858B-4AB1-A500-5ACF4155F568}" dt="2025-06-18T06:33:14.456" v="1459" actId="2711"/>
          <ac:spMkLst>
            <pc:docMk/>
            <pc:sldMk cId="741064419" sldId="1292"/>
            <ac:spMk id="8" creationId="{239C73FE-E96E-FAE9-0C7E-D478357CA97A}"/>
          </ac:spMkLst>
        </pc:spChg>
        <pc:spChg chg="mod">
          <ac:chgData name="Krishna Sharma" userId="daa697d5-8440-4694-9c7d-792884c08b9c" providerId="ADAL" clId="{3A17AF7F-858B-4AB1-A500-5ACF4155F568}" dt="2025-06-18T06:33:14.456" v="1459" actId="2711"/>
          <ac:spMkLst>
            <pc:docMk/>
            <pc:sldMk cId="741064419" sldId="1292"/>
            <ac:spMk id="10" creationId="{B68EDC4F-650F-2454-C1F0-E8FE5611F635}"/>
          </ac:spMkLst>
        </pc:spChg>
        <pc:spChg chg="mod">
          <ac:chgData name="Krishna Sharma" userId="daa697d5-8440-4694-9c7d-792884c08b9c" providerId="ADAL" clId="{3A17AF7F-858B-4AB1-A500-5ACF4155F568}" dt="2025-06-18T06:33:51.817" v="1501" actId="1036"/>
          <ac:spMkLst>
            <pc:docMk/>
            <pc:sldMk cId="741064419" sldId="1292"/>
            <ac:spMk id="11" creationId="{5A52A727-3D1B-8CE9-09D8-B48E32F15ABD}"/>
          </ac:spMkLst>
        </pc:spChg>
        <pc:spChg chg="mod">
          <ac:chgData name="Krishna Sharma" userId="daa697d5-8440-4694-9c7d-792884c08b9c" providerId="ADAL" clId="{3A17AF7F-858B-4AB1-A500-5ACF4155F568}" dt="2025-06-18T06:33:47.621" v="1500" actId="1035"/>
          <ac:spMkLst>
            <pc:docMk/>
            <pc:sldMk cId="741064419" sldId="1292"/>
            <ac:spMk id="12" creationId="{02C78F7F-6A3B-3143-5832-280BA91411F7}"/>
          </ac:spMkLst>
        </pc:spChg>
        <pc:spChg chg="mod">
          <ac:chgData name="Krishna Sharma" userId="daa697d5-8440-4694-9c7d-792884c08b9c" providerId="ADAL" clId="{3A17AF7F-858B-4AB1-A500-5ACF4155F568}" dt="2025-06-18T06:34:03.842" v="1516" actId="1036"/>
          <ac:spMkLst>
            <pc:docMk/>
            <pc:sldMk cId="741064419" sldId="1292"/>
            <ac:spMk id="31" creationId="{5989FC5E-B9B4-DAB8-AC47-69F5EEA600A9}"/>
          </ac:spMkLst>
        </pc:spChg>
        <pc:picChg chg="mod modCrop">
          <ac:chgData name="Krishna Sharma" userId="daa697d5-8440-4694-9c7d-792884c08b9c" providerId="ADAL" clId="{3A17AF7F-858B-4AB1-A500-5ACF4155F568}" dt="2025-06-18T07:10:36.393" v="1562" actId="18131"/>
          <ac:picMkLst>
            <pc:docMk/>
            <pc:sldMk cId="741064419" sldId="1292"/>
            <ac:picMk id="13" creationId="{068D5ABE-BE6E-2476-5EA8-AD49BEE5B191}"/>
          </ac:picMkLst>
        </pc:picChg>
      </pc:sldChg>
      <pc:sldChg chg="modSp mod">
        <pc:chgData name="Krishna Sharma" userId="daa697d5-8440-4694-9c7d-792884c08b9c" providerId="ADAL" clId="{3A17AF7F-858B-4AB1-A500-5ACF4155F568}" dt="2025-06-18T07:18:18.768" v="1590" actId="14100"/>
        <pc:sldMkLst>
          <pc:docMk/>
          <pc:sldMk cId="1938175801" sldId="1295"/>
        </pc:sldMkLst>
        <pc:spChg chg="mod">
          <ac:chgData name="Krishna Sharma" userId="daa697d5-8440-4694-9c7d-792884c08b9c" providerId="ADAL" clId="{3A17AF7F-858B-4AB1-A500-5ACF4155F568}" dt="2025-06-18T07:15:31.582" v="1579" actId="2711"/>
          <ac:spMkLst>
            <pc:docMk/>
            <pc:sldMk cId="1938175801" sldId="1295"/>
            <ac:spMk id="2" creationId="{69A78E80-4044-3179-98CB-C9C67231ABD7}"/>
          </ac:spMkLst>
        </pc:spChg>
        <pc:spChg chg="mod">
          <ac:chgData name="Krishna Sharma" userId="daa697d5-8440-4694-9c7d-792884c08b9c" providerId="ADAL" clId="{3A17AF7F-858B-4AB1-A500-5ACF4155F568}" dt="2025-06-18T07:15:31.582" v="1579" actId="2711"/>
          <ac:spMkLst>
            <pc:docMk/>
            <pc:sldMk cId="1938175801" sldId="1295"/>
            <ac:spMk id="4" creationId="{F8C49299-A3D9-08F2-642D-A326713BA07B}"/>
          </ac:spMkLst>
        </pc:spChg>
        <pc:spChg chg="mod">
          <ac:chgData name="Krishna Sharma" userId="daa697d5-8440-4694-9c7d-792884c08b9c" providerId="ADAL" clId="{3A17AF7F-858B-4AB1-A500-5ACF4155F568}" dt="2025-06-18T07:18:18.768" v="1590" actId="14100"/>
          <ac:spMkLst>
            <pc:docMk/>
            <pc:sldMk cId="1938175801" sldId="1295"/>
            <ac:spMk id="5" creationId="{31609F18-75AC-2715-B24B-43CC71018F40}"/>
          </ac:spMkLst>
        </pc:spChg>
        <pc:spChg chg="mod">
          <ac:chgData name="Krishna Sharma" userId="daa697d5-8440-4694-9c7d-792884c08b9c" providerId="ADAL" clId="{3A17AF7F-858B-4AB1-A500-5ACF4155F568}" dt="2025-06-18T07:15:31.582" v="1579" actId="2711"/>
          <ac:spMkLst>
            <pc:docMk/>
            <pc:sldMk cId="1938175801" sldId="1295"/>
            <ac:spMk id="7" creationId="{9CC6FAE0-4CA0-2B40-1F58-C9AB1CB524BA}"/>
          </ac:spMkLst>
        </pc:spChg>
        <pc:spChg chg="mod">
          <ac:chgData name="Krishna Sharma" userId="daa697d5-8440-4694-9c7d-792884c08b9c" providerId="ADAL" clId="{3A17AF7F-858B-4AB1-A500-5ACF4155F568}" dt="2025-06-18T07:15:31.582" v="1579" actId="2711"/>
          <ac:spMkLst>
            <pc:docMk/>
            <pc:sldMk cId="1938175801" sldId="1295"/>
            <ac:spMk id="8" creationId="{47E72A06-45A7-3255-66C7-C03A2EB98EF9}"/>
          </ac:spMkLst>
        </pc:spChg>
        <pc:spChg chg="mod">
          <ac:chgData name="Krishna Sharma" userId="daa697d5-8440-4694-9c7d-792884c08b9c" providerId="ADAL" clId="{3A17AF7F-858B-4AB1-A500-5ACF4155F568}" dt="2025-06-18T07:17:25.115" v="1583" actId="207"/>
          <ac:spMkLst>
            <pc:docMk/>
            <pc:sldMk cId="1938175801" sldId="1295"/>
            <ac:spMk id="9" creationId="{97C9DB9E-E800-7B43-FA05-4CD8E41DF8D7}"/>
          </ac:spMkLst>
        </pc:spChg>
        <pc:spChg chg="mod">
          <ac:chgData name="Krishna Sharma" userId="daa697d5-8440-4694-9c7d-792884c08b9c" providerId="ADAL" clId="{3A17AF7F-858B-4AB1-A500-5ACF4155F568}" dt="2025-06-18T07:17:32.473" v="1584" actId="207"/>
          <ac:spMkLst>
            <pc:docMk/>
            <pc:sldMk cId="1938175801" sldId="1295"/>
            <ac:spMk id="10" creationId="{628C96AC-21B9-44A4-951F-BD369CB89EE4}"/>
          </ac:spMkLst>
        </pc:spChg>
      </pc:sldChg>
      <pc:sldChg chg="modSp mod">
        <pc:chgData name="Krishna Sharma" userId="daa697d5-8440-4694-9c7d-792884c08b9c" providerId="ADAL" clId="{3A17AF7F-858B-4AB1-A500-5ACF4155F568}" dt="2025-06-18T09:26:12.684" v="1648" actId="113"/>
        <pc:sldMkLst>
          <pc:docMk/>
          <pc:sldMk cId="2362717123" sldId="1301"/>
        </pc:sldMkLst>
        <pc:spChg chg="mod">
          <ac:chgData name="Krishna Sharma" userId="daa697d5-8440-4694-9c7d-792884c08b9c" providerId="ADAL" clId="{3A17AF7F-858B-4AB1-A500-5ACF4155F568}" dt="2025-06-18T09:26:12.684" v="1648" actId="113"/>
          <ac:spMkLst>
            <pc:docMk/>
            <pc:sldMk cId="2362717123" sldId="1301"/>
            <ac:spMk id="2" creationId="{64F9DE22-C787-85C5-25D3-21B8170DAF81}"/>
          </ac:spMkLst>
        </pc:spChg>
        <pc:spChg chg="mod">
          <ac:chgData name="Krishna Sharma" userId="daa697d5-8440-4694-9c7d-792884c08b9c" providerId="ADAL" clId="{3A17AF7F-858B-4AB1-A500-5ACF4155F568}" dt="2025-06-18T09:25:41.485" v="1643" actId="2711"/>
          <ac:spMkLst>
            <pc:docMk/>
            <pc:sldMk cId="2362717123" sldId="1301"/>
            <ac:spMk id="8" creationId="{B024F0AB-8DC8-3500-F82B-E6D1E827AA35}"/>
          </ac:spMkLst>
        </pc:spChg>
        <pc:spChg chg="mod">
          <ac:chgData name="Krishna Sharma" userId="daa697d5-8440-4694-9c7d-792884c08b9c" providerId="ADAL" clId="{3A17AF7F-858B-4AB1-A500-5ACF4155F568}" dt="2025-06-18T09:25:41.485" v="1643" actId="2711"/>
          <ac:spMkLst>
            <pc:docMk/>
            <pc:sldMk cId="2362717123" sldId="1301"/>
            <ac:spMk id="13" creationId="{7AA8D945-0157-C33A-3840-13FAD758F548}"/>
          </ac:spMkLst>
        </pc:spChg>
        <pc:spChg chg="mod">
          <ac:chgData name="Krishna Sharma" userId="daa697d5-8440-4694-9c7d-792884c08b9c" providerId="ADAL" clId="{3A17AF7F-858B-4AB1-A500-5ACF4155F568}" dt="2025-06-18T09:25:41.485" v="1643" actId="2711"/>
          <ac:spMkLst>
            <pc:docMk/>
            <pc:sldMk cId="2362717123" sldId="1301"/>
            <ac:spMk id="14" creationId="{E91495F2-D17C-7D1C-6860-4A3569025FDD}"/>
          </ac:spMkLst>
        </pc:spChg>
        <pc:spChg chg="mod">
          <ac:chgData name="Krishna Sharma" userId="daa697d5-8440-4694-9c7d-792884c08b9c" providerId="ADAL" clId="{3A17AF7F-858B-4AB1-A500-5ACF4155F568}" dt="2025-06-18T09:25:41.485" v="1643" actId="2711"/>
          <ac:spMkLst>
            <pc:docMk/>
            <pc:sldMk cId="2362717123" sldId="1301"/>
            <ac:spMk id="15" creationId="{790178D4-2D2C-5A45-D4D4-68CD0E56BE6D}"/>
          </ac:spMkLst>
        </pc:spChg>
        <pc:spChg chg="mod">
          <ac:chgData name="Krishna Sharma" userId="daa697d5-8440-4694-9c7d-792884c08b9c" providerId="ADAL" clId="{3A17AF7F-858B-4AB1-A500-5ACF4155F568}" dt="2025-06-18T09:25:41.485" v="1643" actId="2711"/>
          <ac:spMkLst>
            <pc:docMk/>
            <pc:sldMk cId="2362717123" sldId="1301"/>
            <ac:spMk id="16" creationId="{2881BE6F-BB38-BA7D-6D31-A8CEB3707C10}"/>
          </ac:spMkLst>
        </pc:spChg>
        <pc:spChg chg="mod">
          <ac:chgData name="Krishna Sharma" userId="daa697d5-8440-4694-9c7d-792884c08b9c" providerId="ADAL" clId="{3A17AF7F-858B-4AB1-A500-5ACF4155F568}" dt="2025-06-18T09:25:34.775" v="1642" actId="1076"/>
          <ac:spMkLst>
            <pc:docMk/>
            <pc:sldMk cId="2362717123" sldId="1301"/>
            <ac:spMk id="24" creationId="{FA5A3589-51B5-B21F-DA61-B9927917F762}"/>
          </ac:spMkLst>
        </pc:spChg>
        <pc:spChg chg="mod">
          <ac:chgData name="Krishna Sharma" userId="daa697d5-8440-4694-9c7d-792884c08b9c" providerId="ADAL" clId="{3A17AF7F-858B-4AB1-A500-5ACF4155F568}" dt="2025-06-18T09:25:41.485" v="1643" actId="2711"/>
          <ac:spMkLst>
            <pc:docMk/>
            <pc:sldMk cId="2362717123" sldId="1301"/>
            <ac:spMk id="26" creationId="{738E1B21-F48E-C4A6-2F29-5FC2AF34D19C}"/>
          </ac:spMkLst>
        </pc:spChg>
        <pc:spChg chg="mod">
          <ac:chgData name="Krishna Sharma" userId="daa697d5-8440-4694-9c7d-792884c08b9c" providerId="ADAL" clId="{3A17AF7F-858B-4AB1-A500-5ACF4155F568}" dt="2025-06-18T09:25:41.485" v="1643" actId="2711"/>
          <ac:spMkLst>
            <pc:docMk/>
            <pc:sldMk cId="2362717123" sldId="1301"/>
            <ac:spMk id="29" creationId="{B70AE187-8E05-62A2-F0C7-FAB6A5872F97}"/>
          </ac:spMkLst>
        </pc:spChg>
        <pc:spChg chg="mod">
          <ac:chgData name="Krishna Sharma" userId="daa697d5-8440-4694-9c7d-792884c08b9c" providerId="ADAL" clId="{3A17AF7F-858B-4AB1-A500-5ACF4155F568}" dt="2025-06-18T09:25:41.485" v="1643" actId="2711"/>
          <ac:spMkLst>
            <pc:docMk/>
            <pc:sldMk cId="2362717123" sldId="1301"/>
            <ac:spMk id="31" creationId="{08A8A03C-3F13-AA6E-6786-E5AA0E469685}"/>
          </ac:spMkLst>
        </pc:spChg>
        <pc:spChg chg="mod">
          <ac:chgData name="Krishna Sharma" userId="daa697d5-8440-4694-9c7d-792884c08b9c" providerId="ADAL" clId="{3A17AF7F-858B-4AB1-A500-5ACF4155F568}" dt="2025-06-18T09:25:41.485" v="1643" actId="2711"/>
          <ac:spMkLst>
            <pc:docMk/>
            <pc:sldMk cId="2362717123" sldId="1301"/>
            <ac:spMk id="32" creationId="{604782FD-763F-8A5C-89A0-EE80524E019E}"/>
          </ac:spMkLst>
        </pc:spChg>
      </pc:sldChg>
      <pc:sldChg chg="modSp mod">
        <pc:chgData name="Krishna Sharma" userId="daa697d5-8440-4694-9c7d-792884c08b9c" providerId="ADAL" clId="{3A17AF7F-858B-4AB1-A500-5ACF4155F568}" dt="2025-06-11T05:41:40.142" v="648" actId="20577"/>
        <pc:sldMkLst>
          <pc:docMk/>
          <pc:sldMk cId="2474915344" sldId="1302"/>
        </pc:sldMkLst>
      </pc:sldChg>
      <pc:sldChg chg="modSp">
        <pc:chgData name="Krishna Sharma" userId="daa697d5-8440-4694-9c7d-792884c08b9c" providerId="ADAL" clId="{3A17AF7F-858B-4AB1-A500-5ACF4155F568}" dt="2025-06-18T09:27:04.440" v="1652" actId="2711"/>
        <pc:sldMkLst>
          <pc:docMk/>
          <pc:sldMk cId="1169069124" sldId="1307"/>
        </pc:sldMkLst>
        <pc:spChg chg="mod">
          <ac:chgData name="Krishna Sharma" userId="daa697d5-8440-4694-9c7d-792884c08b9c" providerId="ADAL" clId="{3A17AF7F-858B-4AB1-A500-5ACF4155F568}" dt="2025-06-18T09:27:04.440" v="1652" actId="2711"/>
          <ac:spMkLst>
            <pc:docMk/>
            <pc:sldMk cId="1169069124" sldId="1307"/>
            <ac:spMk id="2" creationId="{75B387BB-5974-1F2F-B25C-6F27D59E22FC}"/>
          </ac:spMkLst>
        </pc:spChg>
        <pc:spChg chg="mod">
          <ac:chgData name="Krishna Sharma" userId="daa697d5-8440-4694-9c7d-792884c08b9c" providerId="ADAL" clId="{3A17AF7F-858B-4AB1-A500-5ACF4155F568}" dt="2025-06-18T09:27:04.440" v="1652" actId="2711"/>
          <ac:spMkLst>
            <pc:docMk/>
            <pc:sldMk cId="1169069124" sldId="1307"/>
            <ac:spMk id="4" creationId="{1151A277-C406-CFFF-BB51-849AE084CC15}"/>
          </ac:spMkLst>
        </pc:spChg>
        <pc:spChg chg="mod">
          <ac:chgData name="Krishna Sharma" userId="daa697d5-8440-4694-9c7d-792884c08b9c" providerId="ADAL" clId="{3A17AF7F-858B-4AB1-A500-5ACF4155F568}" dt="2025-06-18T09:27:04.440" v="1652" actId="2711"/>
          <ac:spMkLst>
            <pc:docMk/>
            <pc:sldMk cId="1169069124" sldId="1307"/>
            <ac:spMk id="6" creationId="{9C22A470-B433-BE65-92AB-E38345A4A3F2}"/>
          </ac:spMkLst>
        </pc:spChg>
        <pc:spChg chg="mod">
          <ac:chgData name="Krishna Sharma" userId="daa697d5-8440-4694-9c7d-792884c08b9c" providerId="ADAL" clId="{3A17AF7F-858B-4AB1-A500-5ACF4155F568}" dt="2025-06-18T09:27:04.440" v="1652" actId="2711"/>
          <ac:spMkLst>
            <pc:docMk/>
            <pc:sldMk cId="1169069124" sldId="1307"/>
            <ac:spMk id="8" creationId="{DE3C5E25-91F3-D2E6-4E1A-27A896F0EC6C}"/>
          </ac:spMkLst>
        </pc:spChg>
        <pc:spChg chg="mod">
          <ac:chgData name="Krishna Sharma" userId="daa697d5-8440-4694-9c7d-792884c08b9c" providerId="ADAL" clId="{3A17AF7F-858B-4AB1-A500-5ACF4155F568}" dt="2025-06-18T09:27:04.440" v="1652" actId="2711"/>
          <ac:spMkLst>
            <pc:docMk/>
            <pc:sldMk cId="1169069124" sldId="1307"/>
            <ac:spMk id="29" creationId="{6A3CB968-9854-403C-97FA-00C81E60DBAE}"/>
          </ac:spMkLst>
        </pc:spChg>
        <pc:spChg chg="mod">
          <ac:chgData name="Krishna Sharma" userId="daa697d5-8440-4694-9c7d-792884c08b9c" providerId="ADAL" clId="{3A17AF7F-858B-4AB1-A500-5ACF4155F568}" dt="2025-06-18T09:27:04.440" v="1652" actId="2711"/>
          <ac:spMkLst>
            <pc:docMk/>
            <pc:sldMk cId="1169069124" sldId="1307"/>
            <ac:spMk id="30" creationId="{B75A2E8D-F1F8-15BE-CA4B-76D2D7461952}"/>
          </ac:spMkLst>
        </pc:spChg>
        <pc:picChg chg="mod">
          <ac:chgData name="Krishna Sharma" userId="daa697d5-8440-4694-9c7d-792884c08b9c" providerId="ADAL" clId="{3A17AF7F-858B-4AB1-A500-5ACF4155F568}" dt="2025-06-18T09:27:04.440" v="1652" actId="2711"/>
          <ac:picMkLst>
            <pc:docMk/>
            <pc:sldMk cId="1169069124" sldId="1307"/>
            <ac:picMk id="4098" creationId="{E48ECAB9-DDCC-0181-15F6-75283456757B}"/>
          </ac:picMkLst>
        </pc:picChg>
      </pc:sldChg>
      <pc:sldChg chg="modSp">
        <pc:chgData name="Krishna Sharma" userId="daa697d5-8440-4694-9c7d-792884c08b9c" providerId="ADAL" clId="{3A17AF7F-858B-4AB1-A500-5ACF4155F568}" dt="2025-06-18T09:28:32.444" v="1659" actId="2711"/>
        <pc:sldMkLst>
          <pc:docMk/>
          <pc:sldMk cId="1208051429" sldId="1318"/>
        </pc:sldMkLst>
        <pc:spChg chg="mod">
          <ac:chgData name="Krishna Sharma" userId="daa697d5-8440-4694-9c7d-792884c08b9c" providerId="ADAL" clId="{3A17AF7F-858B-4AB1-A500-5ACF4155F568}" dt="2025-06-18T09:28:32.444" v="1659" actId="2711"/>
          <ac:spMkLst>
            <pc:docMk/>
            <pc:sldMk cId="1208051429" sldId="1318"/>
            <ac:spMk id="4" creationId="{672C35C1-BF6F-D4B3-A070-966F3CA1E7F5}"/>
          </ac:spMkLst>
        </pc:spChg>
        <pc:spChg chg="mod">
          <ac:chgData name="Krishna Sharma" userId="daa697d5-8440-4694-9c7d-792884c08b9c" providerId="ADAL" clId="{3A17AF7F-858B-4AB1-A500-5ACF4155F568}" dt="2025-06-18T09:28:32.444" v="1659" actId="2711"/>
          <ac:spMkLst>
            <pc:docMk/>
            <pc:sldMk cId="1208051429" sldId="1318"/>
            <ac:spMk id="6" creationId="{8AA43B59-0A20-332C-5C6A-14DBD5F0E9EC}"/>
          </ac:spMkLst>
        </pc:spChg>
        <pc:spChg chg="mod">
          <ac:chgData name="Krishna Sharma" userId="daa697d5-8440-4694-9c7d-792884c08b9c" providerId="ADAL" clId="{3A17AF7F-858B-4AB1-A500-5ACF4155F568}" dt="2025-06-18T09:28:32.444" v="1659" actId="2711"/>
          <ac:spMkLst>
            <pc:docMk/>
            <pc:sldMk cId="1208051429" sldId="1318"/>
            <ac:spMk id="7" creationId="{98A22040-8891-8E78-927A-5C87D029C5A3}"/>
          </ac:spMkLst>
        </pc:spChg>
        <pc:spChg chg="mod">
          <ac:chgData name="Krishna Sharma" userId="daa697d5-8440-4694-9c7d-792884c08b9c" providerId="ADAL" clId="{3A17AF7F-858B-4AB1-A500-5ACF4155F568}" dt="2025-06-18T09:28:32.444" v="1659" actId="2711"/>
          <ac:spMkLst>
            <pc:docMk/>
            <pc:sldMk cId="1208051429" sldId="1318"/>
            <ac:spMk id="8" creationId="{FABC3441-1A68-194A-1138-71DB0017CFBD}"/>
          </ac:spMkLst>
        </pc:spChg>
        <pc:spChg chg="mod">
          <ac:chgData name="Krishna Sharma" userId="daa697d5-8440-4694-9c7d-792884c08b9c" providerId="ADAL" clId="{3A17AF7F-858B-4AB1-A500-5ACF4155F568}" dt="2025-06-18T09:28:32.444" v="1659" actId="2711"/>
          <ac:spMkLst>
            <pc:docMk/>
            <pc:sldMk cId="1208051429" sldId="1318"/>
            <ac:spMk id="13" creationId="{C29E7919-5CDB-29DA-C861-D506B7D16E2F}"/>
          </ac:spMkLst>
        </pc:spChg>
        <pc:picChg chg="mod">
          <ac:chgData name="Krishna Sharma" userId="daa697d5-8440-4694-9c7d-792884c08b9c" providerId="ADAL" clId="{3A17AF7F-858B-4AB1-A500-5ACF4155F568}" dt="2025-06-18T09:28:32.444" v="1659" actId="2711"/>
          <ac:picMkLst>
            <pc:docMk/>
            <pc:sldMk cId="1208051429" sldId="1318"/>
            <ac:picMk id="4104" creationId="{1C1CBFF1-64F2-E59C-E294-FA70005CC9BB}"/>
          </ac:picMkLst>
        </pc:picChg>
      </pc:sldChg>
      <pc:sldChg chg="addSp delSp modSp mod">
        <pc:chgData name="Krishna Sharma" userId="daa697d5-8440-4694-9c7d-792884c08b9c" providerId="ADAL" clId="{3A17AF7F-858B-4AB1-A500-5ACF4155F568}" dt="2025-06-18T11:24:28.077" v="1965" actId="1076"/>
        <pc:sldMkLst>
          <pc:docMk/>
          <pc:sldMk cId="1410339993" sldId="1319"/>
        </pc:sldMkLst>
        <pc:spChg chg="mod">
          <ac:chgData name="Krishna Sharma" userId="daa697d5-8440-4694-9c7d-792884c08b9c" providerId="ADAL" clId="{3A17AF7F-858B-4AB1-A500-5ACF4155F568}" dt="2025-06-18T09:28:46.094" v="1660" actId="2711"/>
          <ac:spMkLst>
            <pc:docMk/>
            <pc:sldMk cId="1410339993" sldId="1319"/>
            <ac:spMk id="2" creationId="{BBABC0B8-D5C5-60C3-C191-9E6886E174AA}"/>
          </ac:spMkLst>
        </pc:spChg>
        <pc:spChg chg="mod">
          <ac:chgData name="Krishna Sharma" userId="daa697d5-8440-4694-9c7d-792884c08b9c" providerId="ADAL" clId="{3A17AF7F-858B-4AB1-A500-5ACF4155F568}" dt="2025-06-18T09:28:46.094" v="1660" actId="2711"/>
          <ac:spMkLst>
            <pc:docMk/>
            <pc:sldMk cId="1410339993" sldId="1319"/>
            <ac:spMk id="8" creationId="{F88B0FD0-3B6B-0E15-65C3-778BEA5C5FB0}"/>
          </ac:spMkLst>
        </pc:spChg>
        <pc:spChg chg="mod">
          <ac:chgData name="Krishna Sharma" userId="daa697d5-8440-4694-9c7d-792884c08b9c" providerId="ADAL" clId="{3A17AF7F-858B-4AB1-A500-5ACF4155F568}" dt="2025-06-18T11:14:43.284" v="1935" actId="1035"/>
          <ac:spMkLst>
            <pc:docMk/>
            <pc:sldMk cId="1410339993" sldId="1319"/>
            <ac:spMk id="30" creationId="{69F12A31-7B9F-E56C-A0C4-420F2D730E28}"/>
          </ac:spMkLst>
        </pc:spChg>
        <pc:spChg chg="mod">
          <ac:chgData name="Krishna Sharma" userId="daa697d5-8440-4694-9c7d-792884c08b9c" providerId="ADAL" clId="{3A17AF7F-858B-4AB1-A500-5ACF4155F568}" dt="2025-06-18T11:14:43.284" v="1935" actId="1035"/>
          <ac:spMkLst>
            <pc:docMk/>
            <pc:sldMk cId="1410339993" sldId="1319"/>
            <ac:spMk id="31" creationId="{720B5260-FF86-0E91-EF2C-3BC98730C5B2}"/>
          </ac:spMkLst>
        </pc:spChg>
        <pc:spChg chg="mod">
          <ac:chgData name="Krishna Sharma" userId="daa697d5-8440-4694-9c7d-792884c08b9c" providerId="ADAL" clId="{3A17AF7F-858B-4AB1-A500-5ACF4155F568}" dt="2025-06-18T11:18:51.858" v="1950" actId="1076"/>
          <ac:spMkLst>
            <pc:docMk/>
            <pc:sldMk cId="1410339993" sldId="1319"/>
            <ac:spMk id="33" creationId="{224C8751-550D-238C-4899-A995F0DA97A1}"/>
          </ac:spMkLst>
        </pc:spChg>
        <pc:spChg chg="mod">
          <ac:chgData name="Krishna Sharma" userId="daa697d5-8440-4694-9c7d-792884c08b9c" providerId="ADAL" clId="{3A17AF7F-858B-4AB1-A500-5ACF4155F568}" dt="2025-06-18T11:18:51.858" v="1950" actId="1076"/>
          <ac:spMkLst>
            <pc:docMk/>
            <pc:sldMk cId="1410339993" sldId="1319"/>
            <ac:spMk id="34" creationId="{BC9779E1-54A5-A63E-F6B0-8A72F20AF381}"/>
          </ac:spMkLst>
        </pc:spChg>
        <pc:spChg chg="mod">
          <ac:chgData name="Krishna Sharma" userId="daa697d5-8440-4694-9c7d-792884c08b9c" providerId="ADAL" clId="{3A17AF7F-858B-4AB1-A500-5ACF4155F568}" dt="2025-06-18T09:28:46.094" v="1660" actId="2711"/>
          <ac:spMkLst>
            <pc:docMk/>
            <pc:sldMk cId="1410339993" sldId="1319"/>
            <ac:spMk id="35" creationId="{5CE0CEAF-8EBA-B954-FEEF-31426AF83A66}"/>
          </ac:spMkLst>
        </pc:spChg>
        <pc:spChg chg="mod">
          <ac:chgData name="Krishna Sharma" userId="daa697d5-8440-4694-9c7d-792884c08b9c" providerId="ADAL" clId="{3A17AF7F-858B-4AB1-A500-5ACF4155F568}" dt="2025-06-18T11:17:05.874" v="1943" actId="1076"/>
          <ac:spMkLst>
            <pc:docMk/>
            <pc:sldMk cId="1410339993" sldId="1319"/>
            <ac:spMk id="36" creationId="{030414E4-0687-BE0B-013B-E9379A579763}"/>
          </ac:spMkLst>
        </pc:spChg>
        <pc:spChg chg="mod">
          <ac:chgData name="Krishna Sharma" userId="daa697d5-8440-4694-9c7d-792884c08b9c" providerId="ADAL" clId="{3A17AF7F-858B-4AB1-A500-5ACF4155F568}" dt="2025-06-18T11:17:25.004" v="1944" actId="1076"/>
          <ac:spMkLst>
            <pc:docMk/>
            <pc:sldMk cId="1410339993" sldId="1319"/>
            <ac:spMk id="37" creationId="{E236F630-8507-2DF6-4B44-BB10765893EC}"/>
          </ac:spMkLst>
        </pc:spChg>
        <pc:spChg chg="mod">
          <ac:chgData name="Krishna Sharma" userId="daa697d5-8440-4694-9c7d-792884c08b9c" providerId="ADAL" clId="{3A17AF7F-858B-4AB1-A500-5ACF4155F568}" dt="2025-06-18T09:28:46.094" v="1660" actId="2711"/>
          <ac:spMkLst>
            <pc:docMk/>
            <pc:sldMk cId="1410339993" sldId="1319"/>
            <ac:spMk id="38" creationId="{941F537B-2C55-4FC0-3448-8AEDB345861D}"/>
          </ac:spMkLst>
        </pc:spChg>
        <pc:spChg chg="mod">
          <ac:chgData name="Krishna Sharma" userId="daa697d5-8440-4694-9c7d-792884c08b9c" providerId="ADAL" clId="{3A17AF7F-858B-4AB1-A500-5ACF4155F568}" dt="2025-06-18T11:21:53.527" v="1956" actId="1076"/>
          <ac:spMkLst>
            <pc:docMk/>
            <pc:sldMk cId="1410339993" sldId="1319"/>
            <ac:spMk id="39" creationId="{B96C09FC-B414-EFF9-455B-869024702ADA}"/>
          </ac:spMkLst>
        </pc:spChg>
        <pc:spChg chg="mod">
          <ac:chgData name="Krishna Sharma" userId="daa697d5-8440-4694-9c7d-792884c08b9c" providerId="ADAL" clId="{3A17AF7F-858B-4AB1-A500-5ACF4155F568}" dt="2025-06-18T11:21:53.527" v="1956" actId="1076"/>
          <ac:spMkLst>
            <pc:docMk/>
            <pc:sldMk cId="1410339993" sldId="1319"/>
            <ac:spMk id="40" creationId="{F5914174-304D-401A-DE89-155431D6AD0A}"/>
          </ac:spMkLst>
        </pc:spChg>
        <pc:picChg chg="add del mod">
          <ac:chgData name="Krishna Sharma" userId="daa697d5-8440-4694-9c7d-792884c08b9c" providerId="ADAL" clId="{3A17AF7F-858B-4AB1-A500-5ACF4155F568}" dt="2025-06-18T11:16:32.635" v="1938" actId="478"/>
          <ac:picMkLst>
            <pc:docMk/>
            <pc:sldMk cId="1410339993" sldId="1319"/>
            <ac:picMk id="13" creationId="{5911D880-92AF-1A64-BF7D-7635255B20AF}"/>
          </ac:picMkLst>
        </pc:picChg>
        <pc:picChg chg="add mod">
          <ac:chgData name="Krishna Sharma" userId="daa697d5-8440-4694-9c7d-792884c08b9c" providerId="ADAL" clId="{3A17AF7F-858B-4AB1-A500-5ACF4155F568}" dt="2025-06-18T11:16:47.624" v="1941" actId="1076"/>
          <ac:picMkLst>
            <pc:docMk/>
            <pc:sldMk cId="1410339993" sldId="1319"/>
            <ac:picMk id="14" creationId="{23374D45-1BC1-E080-15CE-29C19F616C05}"/>
          </ac:picMkLst>
        </pc:picChg>
        <pc:picChg chg="add mod">
          <ac:chgData name="Krishna Sharma" userId="daa697d5-8440-4694-9c7d-792884c08b9c" providerId="ADAL" clId="{3A17AF7F-858B-4AB1-A500-5ACF4155F568}" dt="2025-06-18T11:18:31.604" v="1948" actId="1076"/>
          <ac:picMkLst>
            <pc:docMk/>
            <pc:sldMk cId="1410339993" sldId="1319"/>
            <ac:picMk id="15" creationId="{A3E15C9B-CD35-D938-0869-70DDA706D48D}"/>
          </ac:picMkLst>
        </pc:picChg>
        <pc:picChg chg="add mod">
          <ac:chgData name="Krishna Sharma" userId="daa697d5-8440-4694-9c7d-792884c08b9c" providerId="ADAL" clId="{3A17AF7F-858B-4AB1-A500-5ACF4155F568}" dt="2025-06-18T11:21:39.555" v="1953" actId="1076"/>
          <ac:picMkLst>
            <pc:docMk/>
            <pc:sldMk cId="1410339993" sldId="1319"/>
            <ac:picMk id="16" creationId="{7ADCE06A-1C11-BC83-7217-02C839D7902A}"/>
          </ac:picMkLst>
        </pc:picChg>
        <pc:picChg chg="add del mod">
          <ac:chgData name="Krishna Sharma" userId="daa697d5-8440-4694-9c7d-792884c08b9c" providerId="ADAL" clId="{3A17AF7F-858B-4AB1-A500-5ACF4155F568}" dt="2025-06-18T11:24:18.315" v="1962" actId="478"/>
          <ac:picMkLst>
            <pc:docMk/>
            <pc:sldMk cId="1410339993" sldId="1319"/>
            <ac:picMk id="17" creationId="{2F2B7133-10CB-C93C-45B8-0CABEEA078A8}"/>
          </ac:picMkLst>
        </pc:picChg>
        <pc:picChg chg="add mod">
          <ac:chgData name="Krishna Sharma" userId="daa697d5-8440-4694-9c7d-792884c08b9c" providerId="ADAL" clId="{3A17AF7F-858B-4AB1-A500-5ACF4155F568}" dt="2025-06-18T11:24:28.077" v="1965" actId="1076"/>
          <ac:picMkLst>
            <pc:docMk/>
            <pc:sldMk cId="1410339993" sldId="1319"/>
            <ac:picMk id="18" creationId="{1A56D1EF-07D7-10F0-FA22-A0E55F019D67}"/>
          </ac:picMkLst>
        </pc:picChg>
      </pc:sldChg>
      <pc:sldChg chg="modSp mod">
        <pc:chgData name="Krishna Sharma" userId="daa697d5-8440-4694-9c7d-792884c08b9c" providerId="ADAL" clId="{3A17AF7F-858B-4AB1-A500-5ACF4155F568}" dt="2025-06-18T09:29:54.194" v="1661" actId="2711"/>
        <pc:sldMkLst>
          <pc:docMk/>
          <pc:sldMk cId="4045290397" sldId="1320"/>
        </pc:sldMkLst>
        <pc:spChg chg="mod">
          <ac:chgData name="Krishna Sharma" userId="daa697d5-8440-4694-9c7d-792884c08b9c" providerId="ADAL" clId="{3A17AF7F-858B-4AB1-A500-5ACF4155F568}" dt="2025-06-18T09:29:54.194" v="1661" actId="2711"/>
          <ac:spMkLst>
            <pc:docMk/>
            <pc:sldMk cId="4045290397" sldId="1320"/>
            <ac:spMk id="13" creationId="{43562B45-0692-6624-B156-9A76C91F6D15}"/>
          </ac:spMkLst>
        </pc:spChg>
        <pc:spChg chg="mod">
          <ac:chgData name="Krishna Sharma" userId="daa697d5-8440-4694-9c7d-792884c08b9c" providerId="ADAL" clId="{3A17AF7F-858B-4AB1-A500-5ACF4155F568}" dt="2025-06-18T09:29:54.194" v="1661" actId="2711"/>
          <ac:spMkLst>
            <pc:docMk/>
            <pc:sldMk cId="4045290397" sldId="1320"/>
            <ac:spMk id="21" creationId="{6606E4CB-DE86-7B09-9B63-018944D73F94}"/>
          </ac:spMkLst>
        </pc:spChg>
        <pc:spChg chg="mod">
          <ac:chgData name="Krishna Sharma" userId="daa697d5-8440-4694-9c7d-792884c08b9c" providerId="ADAL" clId="{3A17AF7F-858B-4AB1-A500-5ACF4155F568}" dt="2025-06-18T09:29:54.194" v="1661" actId="2711"/>
          <ac:spMkLst>
            <pc:docMk/>
            <pc:sldMk cId="4045290397" sldId="1320"/>
            <ac:spMk id="49" creationId="{D90CE12D-11BF-1810-B422-EA60BA71B9B6}"/>
          </ac:spMkLst>
        </pc:spChg>
        <pc:spChg chg="mod">
          <ac:chgData name="Krishna Sharma" userId="daa697d5-8440-4694-9c7d-792884c08b9c" providerId="ADAL" clId="{3A17AF7F-858B-4AB1-A500-5ACF4155F568}" dt="2025-06-18T09:29:54.194" v="1661" actId="2711"/>
          <ac:spMkLst>
            <pc:docMk/>
            <pc:sldMk cId="4045290397" sldId="1320"/>
            <ac:spMk id="55" creationId="{138FD489-678F-78C7-2750-BB057E6012A9}"/>
          </ac:spMkLst>
        </pc:spChg>
        <pc:spChg chg="mod">
          <ac:chgData name="Krishna Sharma" userId="daa697d5-8440-4694-9c7d-792884c08b9c" providerId="ADAL" clId="{3A17AF7F-858B-4AB1-A500-5ACF4155F568}" dt="2025-06-18T09:29:54.194" v="1661" actId="2711"/>
          <ac:spMkLst>
            <pc:docMk/>
            <pc:sldMk cId="4045290397" sldId="1320"/>
            <ac:spMk id="58" creationId="{3B8EFC54-28B1-A029-382A-AB4B39C9180E}"/>
          </ac:spMkLst>
        </pc:spChg>
        <pc:spChg chg="mod">
          <ac:chgData name="Krishna Sharma" userId="daa697d5-8440-4694-9c7d-792884c08b9c" providerId="ADAL" clId="{3A17AF7F-858B-4AB1-A500-5ACF4155F568}" dt="2025-06-18T09:29:54.194" v="1661" actId="2711"/>
          <ac:spMkLst>
            <pc:docMk/>
            <pc:sldMk cId="4045290397" sldId="1320"/>
            <ac:spMk id="62" creationId="{76C9F8E5-0DF3-AD3E-0364-74D518B283FE}"/>
          </ac:spMkLst>
        </pc:spChg>
        <pc:spChg chg="mod">
          <ac:chgData name="Krishna Sharma" userId="daa697d5-8440-4694-9c7d-792884c08b9c" providerId="ADAL" clId="{3A17AF7F-858B-4AB1-A500-5ACF4155F568}" dt="2025-06-18T09:29:54.194" v="1661" actId="2711"/>
          <ac:spMkLst>
            <pc:docMk/>
            <pc:sldMk cId="4045290397" sldId="1320"/>
            <ac:spMk id="63" creationId="{D969B5E3-3595-74F1-532D-D6AE205C9930}"/>
          </ac:spMkLst>
        </pc:spChg>
        <pc:spChg chg="mod">
          <ac:chgData name="Krishna Sharma" userId="daa697d5-8440-4694-9c7d-792884c08b9c" providerId="ADAL" clId="{3A17AF7F-858B-4AB1-A500-5ACF4155F568}" dt="2025-06-18T09:29:54.194" v="1661" actId="2711"/>
          <ac:spMkLst>
            <pc:docMk/>
            <pc:sldMk cId="4045290397" sldId="1320"/>
            <ac:spMk id="66" creationId="{4D4CD2CA-111C-DA84-A7D8-FE0648E543B9}"/>
          </ac:spMkLst>
        </pc:spChg>
        <pc:spChg chg="mod">
          <ac:chgData name="Krishna Sharma" userId="daa697d5-8440-4694-9c7d-792884c08b9c" providerId="ADAL" clId="{3A17AF7F-858B-4AB1-A500-5ACF4155F568}" dt="2025-06-18T09:29:54.194" v="1661" actId="2711"/>
          <ac:spMkLst>
            <pc:docMk/>
            <pc:sldMk cId="4045290397" sldId="1320"/>
            <ac:spMk id="68" creationId="{9674F073-2CAE-5E18-04F8-AD27788819FD}"/>
          </ac:spMkLst>
        </pc:spChg>
        <pc:spChg chg="mod">
          <ac:chgData name="Krishna Sharma" userId="daa697d5-8440-4694-9c7d-792884c08b9c" providerId="ADAL" clId="{3A17AF7F-858B-4AB1-A500-5ACF4155F568}" dt="2025-06-18T09:29:54.194" v="1661" actId="2711"/>
          <ac:spMkLst>
            <pc:docMk/>
            <pc:sldMk cId="4045290397" sldId="1320"/>
            <ac:spMk id="71" creationId="{5332257E-41AB-9982-F038-C1D07154A930}"/>
          </ac:spMkLst>
        </pc:spChg>
      </pc:sldChg>
      <pc:sldChg chg="modSp">
        <pc:chgData name="Krishna Sharma" userId="daa697d5-8440-4694-9c7d-792884c08b9c" providerId="ADAL" clId="{3A17AF7F-858B-4AB1-A500-5ACF4155F568}" dt="2025-06-18T09:30:02.260" v="1662" actId="2711"/>
        <pc:sldMkLst>
          <pc:docMk/>
          <pc:sldMk cId="2208417850" sldId="1325"/>
        </pc:sldMkLst>
        <pc:spChg chg="mod">
          <ac:chgData name="Krishna Sharma" userId="daa697d5-8440-4694-9c7d-792884c08b9c" providerId="ADAL" clId="{3A17AF7F-858B-4AB1-A500-5ACF4155F568}" dt="2025-06-18T09:30:02.260" v="1662" actId="2711"/>
          <ac:spMkLst>
            <pc:docMk/>
            <pc:sldMk cId="2208417850" sldId="1325"/>
            <ac:spMk id="2" creationId="{1E456090-5A95-607F-057B-89456B12506F}"/>
          </ac:spMkLst>
        </pc:spChg>
        <pc:spChg chg="mod">
          <ac:chgData name="Krishna Sharma" userId="daa697d5-8440-4694-9c7d-792884c08b9c" providerId="ADAL" clId="{3A17AF7F-858B-4AB1-A500-5ACF4155F568}" dt="2025-06-18T09:30:02.260" v="1662" actId="2711"/>
          <ac:spMkLst>
            <pc:docMk/>
            <pc:sldMk cId="2208417850" sldId="1325"/>
            <ac:spMk id="3" creationId="{9C69179B-5659-8128-A639-A3E4E02AC923}"/>
          </ac:spMkLst>
        </pc:spChg>
        <pc:spChg chg="mod">
          <ac:chgData name="Krishna Sharma" userId="daa697d5-8440-4694-9c7d-792884c08b9c" providerId="ADAL" clId="{3A17AF7F-858B-4AB1-A500-5ACF4155F568}" dt="2025-06-18T09:30:02.260" v="1662" actId="2711"/>
          <ac:spMkLst>
            <pc:docMk/>
            <pc:sldMk cId="2208417850" sldId="1325"/>
            <ac:spMk id="6" creationId="{D9558A0F-1185-384C-1F1F-3AF0D5D0409B}"/>
          </ac:spMkLst>
        </pc:spChg>
        <pc:spChg chg="mod">
          <ac:chgData name="Krishna Sharma" userId="daa697d5-8440-4694-9c7d-792884c08b9c" providerId="ADAL" clId="{3A17AF7F-858B-4AB1-A500-5ACF4155F568}" dt="2025-06-18T09:30:02.260" v="1662" actId="2711"/>
          <ac:spMkLst>
            <pc:docMk/>
            <pc:sldMk cId="2208417850" sldId="1325"/>
            <ac:spMk id="10" creationId="{5FDCD170-5C23-42B8-DED3-1711178CF5DB}"/>
          </ac:spMkLst>
        </pc:spChg>
        <pc:spChg chg="mod">
          <ac:chgData name="Krishna Sharma" userId="daa697d5-8440-4694-9c7d-792884c08b9c" providerId="ADAL" clId="{3A17AF7F-858B-4AB1-A500-5ACF4155F568}" dt="2025-06-18T09:30:02.260" v="1662" actId="2711"/>
          <ac:spMkLst>
            <pc:docMk/>
            <pc:sldMk cId="2208417850" sldId="1325"/>
            <ac:spMk id="13" creationId="{C75AE987-03AE-5980-802E-ED7C730AA5EA}"/>
          </ac:spMkLst>
        </pc:spChg>
        <pc:spChg chg="mod">
          <ac:chgData name="Krishna Sharma" userId="daa697d5-8440-4694-9c7d-792884c08b9c" providerId="ADAL" clId="{3A17AF7F-858B-4AB1-A500-5ACF4155F568}" dt="2025-06-18T09:30:02.260" v="1662" actId="2711"/>
          <ac:spMkLst>
            <pc:docMk/>
            <pc:sldMk cId="2208417850" sldId="1325"/>
            <ac:spMk id="14" creationId="{A51E77F2-3EA2-E2D7-7B15-D88054616755}"/>
          </ac:spMkLst>
        </pc:spChg>
        <pc:spChg chg="mod">
          <ac:chgData name="Krishna Sharma" userId="daa697d5-8440-4694-9c7d-792884c08b9c" providerId="ADAL" clId="{3A17AF7F-858B-4AB1-A500-5ACF4155F568}" dt="2025-06-18T09:30:02.260" v="1662" actId="2711"/>
          <ac:spMkLst>
            <pc:docMk/>
            <pc:sldMk cId="2208417850" sldId="1325"/>
            <ac:spMk id="17" creationId="{6733F7F0-9205-9DBA-C2DC-1B247159EFB9}"/>
          </ac:spMkLst>
        </pc:spChg>
        <pc:spChg chg="mod">
          <ac:chgData name="Krishna Sharma" userId="daa697d5-8440-4694-9c7d-792884c08b9c" providerId="ADAL" clId="{3A17AF7F-858B-4AB1-A500-5ACF4155F568}" dt="2025-06-18T09:30:02.260" v="1662" actId="2711"/>
          <ac:spMkLst>
            <pc:docMk/>
            <pc:sldMk cId="2208417850" sldId="1325"/>
            <ac:spMk id="18" creationId="{2F52BA08-A7F3-1DEA-EF31-C8BC8007C060}"/>
          </ac:spMkLst>
        </pc:spChg>
        <pc:spChg chg="mod">
          <ac:chgData name="Krishna Sharma" userId="daa697d5-8440-4694-9c7d-792884c08b9c" providerId="ADAL" clId="{3A17AF7F-858B-4AB1-A500-5ACF4155F568}" dt="2025-06-18T09:30:02.260" v="1662" actId="2711"/>
          <ac:spMkLst>
            <pc:docMk/>
            <pc:sldMk cId="2208417850" sldId="1325"/>
            <ac:spMk id="19" creationId="{DDE8E201-173F-570F-2052-6A6019C0947F}"/>
          </ac:spMkLst>
        </pc:spChg>
        <pc:spChg chg="mod">
          <ac:chgData name="Krishna Sharma" userId="daa697d5-8440-4694-9c7d-792884c08b9c" providerId="ADAL" clId="{3A17AF7F-858B-4AB1-A500-5ACF4155F568}" dt="2025-06-18T09:30:02.260" v="1662" actId="2711"/>
          <ac:spMkLst>
            <pc:docMk/>
            <pc:sldMk cId="2208417850" sldId="1325"/>
            <ac:spMk id="20" creationId="{CE0E5870-E238-B86A-63B3-295B6ACAFF18}"/>
          </ac:spMkLst>
        </pc:spChg>
      </pc:sldChg>
      <pc:sldChg chg="modSp">
        <pc:chgData name="Krishna Sharma" userId="daa697d5-8440-4694-9c7d-792884c08b9c" providerId="ADAL" clId="{3A17AF7F-858B-4AB1-A500-5ACF4155F568}" dt="2025-06-18T09:42:08.910" v="1671" actId="14100"/>
        <pc:sldMkLst>
          <pc:docMk/>
          <pc:sldMk cId="2422551007" sldId="1326"/>
        </pc:sldMkLst>
        <pc:spChg chg="mod">
          <ac:chgData name="Krishna Sharma" userId="daa697d5-8440-4694-9c7d-792884c08b9c" providerId="ADAL" clId="{3A17AF7F-858B-4AB1-A500-5ACF4155F568}" dt="2025-06-18T09:42:03.529" v="1670" actId="2711"/>
          <ac:spMkLst>
            <pc:docMk/>
            <pc:sldMk cId="2422551007" sldId="1326"/>
            <ac:spMk id="2" creationId="{9FE8E975-B007-5F01-7997-C23AF145B557}"/>
          </ac:spMkLst>
        </pc:spChg>
        <pc:spChg chg="mod">
          <ac:chgData name="Krishna Sharma" userId="daa697d5-8440-4694-9c7d-792884c08b9c" providerId="ADAL" clId="{3A17AF7F-858B-4AB1-A500-5ACF4155F568}" dt="2025-06-18T09:42:03.529" v="1670" actId="2711"/>
          <ac:spMkLst>
            <pc:docMk/>
            <pc:sldMk cId="2422551007" sldId="1326"/>
            <ac:spMk id="3" creationId="{E3466E05-E14C-BF40-280A-D8D70AEA6E16}"/>
          </ac:spMkLst>
        </pc:spChg>
        <pc:spChg chg="mod">
          <ac:chgData name="Krishna Sharma" userId="daa697d5-8440-4694-9c7d-792884c08b9c" providerId="ADAL" clId="{3A17AF7F-858B-4AB1-A500-5ACF4155F568}" dt="2025-06-18T09:42:03.529" v="1670" actId="2711"/>
          <ac:spMkLst>
            <pc:docMk/>
            <pc:sldMk cId="2422551007" sldId="1326"/>
            <ac:spMk id="4" creationId="{979E31F4-A91E-D44C-4049-1B5A381E2F27}"/>
          </ac:spMkLst>
        </pc:spChg>
        <pc:spChg chg="mod">
          <ac:chgData name="Krishna Sharma" userId="daa697d5-8440-4694-9c7d-792884c08b9c" providerId="ADAL" clId="{3A17AF7F-858B-4AB1-A500-5ACF4155F568}" dt="2025-06-18T09:42:03.529" v="1670" actId="2711"/>
          <ac:spMkLst>
            <pc:docMk/>
            <pc:sldMk cId="2422551007" sldId="1326"/>
            <ac:spMk id="8" creationId="{EF7F651F-8C8A-6CC6-4254-F6CDDB1C87E1}"/>
          </ac:spMkLst>
        </pc:spChg>
        <pc:grpChg chg="mod">
          <ac:chgData name="Krishna Sharma" userId="daa697d5-8440-4694-9c7d-792884c08b9c" providerId="ADAL" clId="{3A17AF7F-858B-4AB1-A500-5ACF4155F568}" dt="2025-06-18T09:42:03.529" v="1670" actId="2711"/>
          <ac:grpSpMkLst>
            <pc:docMk/>
            <pc:sldMk cId="2422551007" sldId="1326"/>
            <ac:grpSpMk id="24" creationId="{FBCA1D64-D572-EDC1-53D9-FF57F8D0A378}"/>
          </ac:grpSpMkLst>
        </pc:grpChg>
        <pc:picChg chg="mod">
          <ac:chgData name="Krishna Sharma" userId="daa697d5-8440-4694-9c7d-792884c08b9c" providerId="ADAL" clId="{3A17AF7F-858B-4AB1-A500-5ACF4155F568}" dt="2025-06-18T09:42:08.910" v="1671" actId="14100"/>
          <ac:picMkLst>
            <pc:docMk/>
            <pc:sldMk cId="2422551007" sldId="1326"/>
            <ac:picMk id="6148" creationId="{F056F422-9831-4B36-EA98-33E6F6886EF4}"/>
          </ac:picMkLst>
        </pc:picChg>
      </pc:sldChg>
      <pc:sldChg chg="addSp delSp modSp mod">
        <pc:chgData name="Krishna Sharma" userId="daa697d5-8440-4694-9c7d-792884c08b9c" providerId="ADAL" clId="{3A17AF7F-858B-4AB1-A500-5ACF4155F568}" dt="2025-06-18T11:44:02.443" v="2082"/>
        <pc:sldMkLst>
          <pc:docMk/>
          <pc:sldMk cId="3185590267" sldId="1327"/>
        </pc:sldMkLst>
        <pc:spChg chg="mod">
          <ac:chgData name="Krishna Sharma" userId="daa697d5-8440-4694-9c7d-792884c08b9c" providerId="ADAL" clId="{3A17AF7F-858B-4AB1-A500-5ACF4155F568}" dt="2025-06-18T09:42:54.154" v="1672" actId="2711"/>
          <ac:spMkLst>
            <pc:docMk/>
            <pc:sldMk cId="3185590267" sldId="1327"/>
            <ac:spMk id="8" creationId="{148D5E4F-997C-C819-B76D-750FFAF936E5}"/>
          </ac:spMkLst>
        </pc:spChg>
        <pc:spChg chg="mod">
          <ac:chgData name="Krishna Sharma" userId="daa697d5-8440-4694-9c7d-792884c08b9c" providerId="ADAL" clId="{3A17AF7F-858B-4AB1-A500-5ACF4155F568}" dt="2025-06-18T09:42:54.154" v="1672" actId="2711"/>
          <ac:spMkLst>
            <pc:docMk/>
            <pc:sldMk cId="3185590267" sldId="1327"/>
            <ac:spMk id="19" creationId="{D951AA8B-7EE1-2114-C031-85E3D7F2A90A}"/>
          </ac:spMkLst>
        </pc:spChg>
        <pc:spChg chg="mod">
          <ac:chgData name="Krishna Sharma" userId="daa697d5-8440-4694-9c7d-792884c08b9c" providerId="ADAL" clId="{3A17AF7F-858B-4AB1-A500-5ACF4155F568}" dt="2025-06-18T09:42:54.154" v="1672" actId="2711"/>
          <ac:spMkLst>
            <pc:docMk/>
            <pc:sldMk cId="3185590267" sldId="1327"/>
            <ac:spMk id="20" creationId="{B108EAD2-9D18-3143-6CE3-23CC32483307}"/>
          </ac:spMkLst>
        </pc:spChg>
        <pc:spChg chg="mod">
          <ac:chgData name="Krishna Sharma" userId="daa697d5-8440-4694-9c7d-792884c08b9c" providerId="ADAL" clId="{3A17AF7F-858B-4AB1-A500-5ACF4155F568}" dt="2025-06-18T09:42:54.154" v="1672" actId="2711"/>
          <ac:spMkLst>
            <pc:docMk/>
            <pc:sldMk cId="3185590267" sldId="1327"/>
            <ac:spMk id="45" creationId="{821A96CC-D512-DC80-AD49-911138A7CE57}"/>
          </ac:spMkLst>
        </pc:spChg>
        <pc:spChg chg="mod">
          <ac:chgData name="Krishna Sharma" userId="daa697d5-8440-4694-9c7d-792884c08b9c" providerId="ADAL" clId="{3A17AF7F-858B-4AB1-A500-5ACF4155F568}" dt="2025-06-18T09:42:54.154" v="1672" actId="2711"/>
          <ac:spMkLst>
            <pc:docMk/>
            <pc:sldMk cId="3185590267" sldId="1327"/>
            <ac:spMk id="46" creationId="{1453989D-8429-3900-DF56-7948C71A96D6}"/>
          </ac:spMkLst>
        </pc:spChg>
        <pc:spChg chg="mod">
          <ac:chgData name="Krishna Sharma" userId="daa697d5-8440-4694-9c7d-792884c08b9c" providerId="ADAL" clId="{3A17AF7F-858B-4AB1-A500-5ACF4155F568}" dt="2025-06-18T09:42:54.154" v="1672" actId="2711"/>
          <ac:spMkLst>
            <pc:docMk/>
            <pc:sldMk cId="3185590267" sldId="1327"/>
            <ac:spMk id="54" creationId="{4DA67162-54A0-BCA1-6709-E99B22EB5F70}"/>
          </ac:spMkLst>
        </pc:spChg>
        <pc:spChg chg="mod">
          <ac:chgData name="Krishna Sharma" userId="daa697d5-8440-4694-9c7d-792884c08b9c" providerId="ADAL" clId="{3A17AF7F-858B-4AB1-A500-5ACF4155F568}" dt="2025-06-18T09:42:54.154" v="1672" actId="2711"/>
          <ac:spMkLst>
            <pc:docMk/>
            <pc:sldMk cId="3185590267" sldId="1327"/>
            <ac:spMk id="58" creationId="{67E5702C-C32D-2EAA-8B4B-614A050EC16D}"/>
          </ac:spMkLst>
        </pc:spChg>
        <pc:spChg chg="mod">
          <ac:chgData name="Krishna Sharma" userId="daa697d5-8440-4694-9c7d-792884c08b9c" providerId="ADAL" clId="{3A17AF7F-858B-4AB1-A500-5ACF4155F568}" dt="2025-06-18T09:42:54.154" v="1672" actId="2711"/>
          <ac:spMkLst>
            <pc:docMk/>
            <pc:sldMk cId="3185590267" sldId="1327"/>
            <ac:spMk id="59" creationId="{299E02F2-D81C-2E34-A894-957E120F44E7}"/>
          </ac:spMkLst>
        </pc:spChg>
        <pc:spChg chg="mod">
          <ac:chgData name="Krishna Sharma" userId="daa697d5-8440-4694-9c7d-792884c08b9c" providerId="ADAL" clId="{3A17AF7F-858B-4AB1-A500-5ACF4155F568}" dt="2025-06-18T09:42:54.154" v="1672" actId="2711"/>
          <ac:spMkLst>
            <pc:docMk/>
            <pc:sldMk cId="3185590267" sldId="1327"/>
            <ac:spMk id="60" creationId="{07062C14-37E6-2BA2-D7C8-5B535DE52E16}"/>
          </ac:spMkLst>
        </pc:spChg>
        <pc:spChg chg="mod">
          <ac:chgData name="Krishna Sharma" userId="daa697d5-8440-4694-9c7d-792884c08b9c" providerId="ADAL" clId="{3A17AF7F-858B-4AB1-A500-5ACF4155F568}" dt="2025-06-18T09:42:54.154" v="1672" actId="2711"/>
          <ac:spMkLst>
            <pc:docMk/>
            <pc:sldMk cId="3185590267" sldId="1327"/>
            <ac:spMk id="61" creationId="{05C46D3A-FC2A-EAD1-AF78-C35F2274D8C5}"/>
          </ac:spMkLst>
        </pc:spChg>
        <pc:picChg chg="add del mod">
          <ac:chgData name="Krishna Sharma" userId="daa697d5-8440-4694-9c7d-792884c08b9c" providerId="ADAL" clId="{3A17AF7F-858B-4AB1-A500-5ACF4155F568}" dt="2025-06-18T11:44:01.368" v="2081" actId="478"/>
          <ac:picMkLst>
            <pc:docMk/>
            <pc:sldMk cId="3185590267" sldId="1327"/>
            <ac:picMk id="3" creationId="{6F1DF72E-3058-E4BA-A138-EF97BAB5051D}"/>
          </ac:picMkLst>
        </pc:picChg>
        <pc:picChg chg="add del mod">
          <ac:chgData name="Krishna Sharma" userId="daa697d5-8440-4694-9c7d-792884c08b9c" providerId="ADAL" clId="{3A17AF7F-858B-4AB1-A500-5ACF4155F568}" dt="2025-06-18T11:43:59.428" v="2080" actId="478"/>
          <ac:picMkLst>
            <pc:docMk/>
            <pc:sldMk cId="3185590267" sldId="1327"/>
            <ac:picMk id="4" creationId="{A4D01A8D-17F2-0FFF-4929-81F2D6166104}"/>
          </ac:picMkLst>
        </pc:picChg>
        <pc:picChg chg="add mod">
          <ac:chgData name="Krishna Sharma" userId="daa697d5-8440-4694-9c7d-792884c08b9c" providerId="ADAL" clId="{3A17AF7F-858B-4AB1-A500-5ACF4155F568}" dt="2025-06-18T11:44:02.443" v="2082"/>
          <ac:picMkLst>
            <pc:docMk/>
            <pc:sldMk cId="3185590267" sldId="1327"/>
            <ac:picMk id="5" creationId="{38F9A594-F47B-CDD8-84C9-A2D7A69334E7}"/>
          </ac:picMkLst>
        </pc:picChg>
        <pc:picChg chg="add mod">
          <ac:chgData name="Krishna Sharma" userId="daa697d5-8440-4694-9c7d-792884c08b9c" providerId="ADAL" clId="{3A17AF7F-858B-4AB1-A500-5ACF4155F568}" dt="2025-06-18T11:44:02.443" v="2082"/>
          <ac:picMkLst>
            <pc:docMk/>
            <pc:sldMk cId="3185590267" sldId="1327"/>
            <ac:picMk id="6" creationId="{5A647468-C21A-AF85-8508-2ADF534309AC}"/>
          </ac:picMkLst>
        </pc:picChg>
      </pc:sldChg>
      <pc:sldChg chg="addSp delSp modSp mod">
        <pc:chgData name="Krishna Sharma" userId="daa697d5-8440-4694-9c7d-792884c08b9c" providerId="ADAL" clId="{3A17AF7F-858B-4AB1-A500-5ACF4155F568}" dt="2025-06-18T11:43:51.727" v="2079" actId="1038"/>
        <pc:sldMkLst>
          <pc:docMk/>
          <pc:sldMk cId="3025924157" sldId="1329"/>
        </pc:sldMkLst>
        <pc:spChg chg="mod">
          <ac:chgData name="Krishna Sharma" userId="daa697d5-8440-4694-9c7d-792884c08b9c" providerId="ADAL" clId="{3A17AF7F-858B-4AB1-A500-5ACF4155F568}" dt="2025-06-18T09:41:50.014" v="1669" actId="2711"/>
          <ac:spMkLst>
            <pc:docMk/>
            <pc:sldMk cId="3025924157" sldId="1329"/>
            <ac:spMk id="8" creationId="{E70F9C86-17A0-EA1A-A5DD-DD93A2C84B51}"/>
          </ac:spMkLst>
        </pc:spChg>
        <pc:spChg chg="mod">
          <ac:chgData name="Krishna Sharma" userId="daa697d5-8440-4694-9c7d-792884c08b9c" providerId="ADAL" clId="{3A17AF7F-858B-4AB1-A500-5ACF4155F568}" dt="2025-06-18T09:41:50.014" v="1669" actId="2711"/>
          <ac:spMkLst>
            <pc:docMk/>
            <pc:sldMk cId="3025924157" sldId="1329"/>
            <ac:spMk id="19" creationId="{CE29D684-2BD9-3CF3-DC5A-50A24E08C7A3}"/>
          </ac:spMkLst>
        </pc:spChg>
        <pc:spChg chg="mod">
          <ac:chgData name="Krishna Sharma" userId="daa697d5-8440-4694-9c7d-792884c08b9c" providerId="ADAL" clId="{3A17AF7F-858B-4AB1-A500-5ACF4155F568}" dt="2025-06-18T09:41:50.014" v="1669" actId="2711"/>
          <ac:spMkLst>
            <pc:docMk/>
            <pc:sldMk cId="3025924157" sldId="1329"/>
            <ac:spMk id="20" creationId="{1F6EB035-71FA-9ADC-1D61-6D97F8B8170B}"/>
          </ac:spMkLst>
        </pc:spChg>
        <pc:spChg chg="mod">
          <ac:chgData name="Krishna Sharma" userId="daa697d5-8440-4694-9c7d-792884c08b9c" providerId="ADAL" clId="{3A17AF7F-858B-4AB1-A500-5ACF4155F568}" dt="2025-06-18T09:41:50.014" v="1669" actId="2711"/>
          <ac:spMkLst>
            <pc:docMk/>
            <pc:sldMk cId="3025924157" sldId="1329"/>
            <ac:spMk id="22" creationId="{2DA84F70-6A7A-0A2A-C398-9E79B7DA76EC}"/>
          </ac:spMkLst>
        </pc:spChg>
        <pc:spChg chg="mod">
          <ac:chgData name="Krishna Sharma" userId="daa697d5-8440-4694-9c7d-792884c08b9c" providerId="ADAL" clId="{3A17AF7F-858B-4AB1-A500-5ACF4155F568}" dt="2025-06-18T09:41:50.014" v="1669" actId="2711"/>
          <ac:spMkLst>
            <pc:docMk/>
            <pc:sldMk cId="3025924157" sldId="1329"/>
            <ac:spMk id="26" creationId="{E26D48B5-0525-F863-1756-F134F070AEEA}"/>
          </ac:spMkLst>
        </pc:spChg>
        <pc:spChg chg="mod">
          <ac:chgData name="Krishna Sharma" userId="daa697d5-8440-4694-9c7d-792884c08b9c" providerId="ADAL" clId="{3A17AF7F-858B-4AB1-A500-5ACF4155F568}" dt="2025-06-18T09:41:50.014" v="1669" actId="2711"/>
          <ac:spMkLst>
            <pc:docMk/>
            <pc:sldMk cId="3025924157" sldId="1329"/>
            <ac:spMk id="29" creationId="{5FAF97B8-88DF-98AD-05DB-CCBD4338668A}"/>
          </ac:spMkLst>
        </pc:spChg>
        <pc:spChg chg="mod">
          <ac:chgData name="Krishna Sharma" userId="daa697d5-8440-4694-9c7d-792884c08b9c" providerId="ADAL" clId="{3A17AF7F-858B-4AB1-A500-5ACF4155F568}" dt="2025-06-18T09:41:50.014" v="1669" actId="2711"/>
          <ac:spMkLst>
            <pc:docMk/>
            <pc:sldMk cId="3025924157" sldId="1329"/>
            <ac:spMk id="30" creationId="{2EAD5F6E-EF84-F76C-1E17-6C69E4BC5F68}"/>
          </ac:spMkLst>
        </pc:spChg>
        <pc:spChg chg="mod">
          <ac:chgData name="Krishna Sharma" userId="daa697d5-8440-4694-9c7d-792884c08b9c" providerId="ADAL" clId="{3A17AF7F-858B-4AB1-A500-5ACF4155F568}" dt="2025-06-18T09:41:50.014" v="1669" actId="2711"/>
          <ac:spMkLst>
            <pc:docMk/>
            <pc:sldMk cId="3025924157" sldId="1329"/>
            <ac:spMk id="32" creationId="{C513084D-50D0-D2FD-EEA6-FFEED492C1C1}"/>
          </ac:spMkLst>
        </pc:spChg>
        <pc:spChg chg="mod">
          <ac:chgData name="Krishna Sharma" userId="daa697d5-8440-4694-9c7d-792884c08b9c" providerId="ADAL" clId="{3A17AF7F-858B-4AB1-A500-5ACF4155F568}" dt="2025-06-18T09:41:50.014" v="1669" actId="2711"/>
          <ac:spMkLst>
            <pc:docMk/>
            <pc:sldMk cId="3025924157" sldId="1329"/>
            <ac:spMk id="34" creationId="{1B859247-7623-1CB1-41A9-F78D306CBEA3}"/>
          </ac:spMkLst>
        </pc:spChg>
        <pc:spChg chg="mod">
          <ac:chgData name="Krishna Sharma" userId="daa697d5-8440-4694-9c7d-792884c08b9c" providerId="ADAL" clId="{3A17AF7F-858B-4AB1-A500-5ACF4155F568}" dt="2025-06-18T09:41:50.014" v="1669" actId="2711"/>
          <ac:spMkLst>
            <pc:docMk/>
            <pc:sldMk cId="3025924157" sldId="1329"/>
            <ac:spMk id="38" creationId="{E33C6FA2-7792-8009-7369-E451787674ED}"/>
          </ac:spMkLst>
        </pc:spChg>
        <pc:picChg chg="add del mod">
          <ac:chgData name="Krishna Sharma" userId="daa697d5-8440-4694-9c7d-792884c08b9c" providerId="ADAL" clId="{3A17AF7F-858B-4AB1-A500-5ACF4155F568}" dt="2025-06-18T11:29:07.887" v="1973" actId="478"/>
          <ac:picMkLst>
            <pc:docMk/>
            <pc:sldMk cId="3025924157" sldId="1329"/>
            <ac:picMk id="12" creationId="{ED6F8B8F-E8A1-E124-58BD-1171E8976D37}"/>
          </ac:picMkLst>
        </pc:picChg>
        <pc:picChg chg="add del mod">
          <ac:chgData name="Krishna Sharma" userId="daa697d5-8440-4694-9c7d-792884c08b9c" providerId="ADAL" clId="{3A17AF7F-858B-4AB1-A500-5ACF4155F568}" dt="2025-06-18T11:29:07.887" v="1973" actId="478"/>
          <ac:picMkLst>
            <pc:docMk/>
            <pc:sldMk cId="3025924157" sldId="1329"/>
            <ac:picMk id="13" creationId="{A155ACAD-8291-6666-2C1D-F0FA5EADA6EE}"/>
          </ac:picMkLst>
        </pc:picChg>
        <pc:picChg chg="add mod">
          <ac:chgData name="Krishna Sharma" userId="daa697d5-8440-4694-9c7d-792884c08b9c" providerId="ADAL" clId="{3A17AF7F-858B-4AB1-A500-5ACF4155F568}" dt="2025-06-18T11:36:06.356" v="1985" actId="1036"/>
          <ac:picMkLst>
            <pc:docMk/>
            <pc:sldMk cId="3025924157" sldId="1329"/>
            <ac:picMk id="14" creationId="{B26AD07E-6E30-5B53-2564-6AAE6D5736A8}"/>
          </ac:picMkLst>
        </pc:picChg>
        <pc:picChg chg="add mod">
          <ac:chgData name="Krishna Sharma" userId="daa697d5-8440-4694-9c7d-792884c08b9c" providerId="ADAL" clId="{3A17AF7F-858B-4AB1-A500-5ACF4155F568}" dt="2025-06-18T11:43:51.727" v="2079" actId="1038"/>
          <ac:picMkLst>
            <pc:docMk/>
            <pc:sldMk cId="3025924157" sldId="1329"/>
            <ac:picMk id="15" creationId="{847A98BB-0B85-88DD-F1D2-AC0D2DC00B2C}"/>
          </ac:picMkLst>
        </pc:picChg>
      </pc:sldChg>
      <pc:sldChg chg="modSp">
        <pc:chgData name="Krishna Sharma" userId="daa697d5-8440-4694-9c7d-792884c08b9c" providerId="ADAL" clId="{3A17AF7F-858B-4AB1-A500-5ACF4155F568}" dt="2025-06-18T09:43:02.801" v="1673" actId="2711"/>
        <pc:sldMkLst>
          <pc:docMk/>
          <pc:sldMk cId="4210696127" sldId="1330"/>
        </pc:sldMkLst>
        <pc:spChg chg="mod">
          <ac:chgData name="Krishna Sharma" userId="daa697d5-8440-4694-9c7d-792884c08b9c" providerId="ADAL" clId="{3A17AF7F-858B-4AB1-A500-5ACF4155F568}" dt="2025-06-18T09:43:02.801" v="1673" actId="2711"/>
          <ac:spMkLst>
            <pc:docMk/>
            <pc:sldMk cId="4210696127" sldId="1330"/>
            <ac:spMk id="2" creationId="{6129CD3D-04F8-AC92-BE41-369736E8F07D}"/>
          </ac:spMkLst>
        </pc:spChg>
        <pc:spChg chg="mod">
          <ac:chgData name="Krishna Sharma" userId="daa697d5-8440-4694-9c7d-792884c08b9c" providerId="ADAL" clId="{3A17AF7F-858B-4AB1-A500-5ACF4155F568}" dt="2025-06-18T09:43:02.801" v="1673" actId="2711"/>
          <ac:spMkLst>
            <pc:docMk/>
            <pc:sldMk cId="4210696127" sldId="1330"/>
            <ac:spMk id="3" creationId="{2F41B9A3-589F-154E-1D35-DA123B58E9A3}"/>
          </ac:spMkLst>
        </pc:spChg>
        <pc:spChg chg="mod">
          <ac:chgData name="Krishna Sharma" userId="daa697d5-8440-4694-9c7d-792884c08b9c" providerId="ADAL" clId="{3A17AF7F-858B-4AB1-A500-5ACF4155F568}" dt="2025-06-18T09:43:02.801" v="1673" actId="2711"/>
          <ac:spMkLst>
            <pc:docMk/>
            <pc:sldMk cId="4210696127" sldId="1330"/>
            <ac:spMk id="4" creationId="{4222818B-99E0-5152-8ACD-AA250B652636}"/>
          </ac:spMkLst>
        </pc:spChg>
        <pc:spChg chg="mod">
          <ac:chgData name="Krishna Sharma" userId="daa697d5-8440-4694-9c7d-792884c08b9c" providerId="ADAL" clId="{3A17AF7F-858B-4AB1-A500-5ACF4155F568}" dt="2025-06-18T09:43:02.801" v="1673" actId="2711"/>
          <ac:spMkLst>
            <pc:docMk/>
            <pc:sldMk cId="4210696127" sldId="1330"/>
            <ac:spMk id="8" creationId="{73F56054-E219-257A-FD84-CBF6949F9152}"/>
          </ac:spMkLst>
        </pc:spChg>
        <pc:grpChg chg="mod">
          <ac:chgData name="Krishna Sharma" userId="daa697d5-8440-4694-9c7d-792884c08b9c" providerId="ADAL" clId="{3A17AF7F-858B-4AB1-A500-5ACF4155F568}" dt="2025-06-18T09:43:02.801" v="1673" actId="2711"/>
          <ac:grpSpMkLst>
            <pc:docMk/>
            <pc:sldMk cId="4210696127" sldId="1330"/>
            <ac:grpSpMk id="10" creationId="{3B85381B-237D-0020-1A79-4842734BB6AB}"/>
          </ac:grpSpMkLst>
        </pc:grpChg>
        <pc:picChg chg="mod">
          <ac:chgData name="Krishna Sharma" userId="daa697d5-8440-4694-9c7d-792884c08b9c" providerId="ADAL" clId="{3A17AF7F-858B-4AB1-A500-5ACF4155F568}" dt="2025-06-18T09:43:02.801" v="1673" actId="2711"/>
          <ac:picMkLst>
            <pc:docMk/>
            <pc:sldMk cId="4210696127" sldId="1330"/>
            <ac:picMk id="7170" creationId="{59369C6F-DE02-9325-7A5E-3992CECEA2B5}"/>
          </ac:picMkLst>
        </pc:picChg>
      </pc:sldChg>
      <pc:sldChg chg="addSp modSp mod">
        <pc:chgData name="Krishna Sharma" userId="daa697d5-8440-4694-9c7d-792884c08b9c" providerId="ADAL" clId="{3A17AF7F-858B-4AB1-A500-5ACF4155F568}" dt="2025-06-18T11:44:10.010" v="2083"/>
        <pc:sldMkLst>
          <pc:docMk/>
          <pc:sldMk cId="428735658" sldId="1332"/>
        </pc:sldMkLst>
        <pc:spChg chg="mod">
          <ac:chgData name="Krishna Sharma" userId="daa697d5-8440-4694-9c7d-792884c08b9c" providerId="ADAL" clId="{3A17AF7F-858B-4AB1-A500-5ACF4155F568}" dt="2025-06-18T09:43:17.452" v="1674" actId="2711"/>
          <ac:spMkLst>
            <pc:docMk/>
            <pc:sldMk cId="428735658" sldId="1332"/>
            <ac:spMk id="2" creationId="{D3BEB841-2AEE-BE3D-A6B1-504625D21D57}"/>
          </ac:spMkLst>
        </pc:spChg>
        <pc:spChg chg="mod">
          <ac:chgData name="Krishna Sharma" userId="daa697d5-8440-4694-9c7d-792884c08b9c" providerId="ADAL" clId="{3A17AF7F-858B-4AB1-A500-5ACF4155F568}" dt="2025-06-18T09:43:17.452" v="1674" actId="2711"/>
          <ac:spMkLst>
            <pc:docMk/>
            <pc:sldMk cId="428735658" sldId="1332"/>
            <ac:spMk id="4" creationId="{FC3BFC4F-833E-7675-B727-E11C2954D428}"/>
          </ac:spMkLst>
        </pc:spChg>
        <pc:spChg chg="mod">
          <ac:chgData name="Krishna Sharma" userId="daa697d5-8440-4694-9c7d-792884c08b9c" providerId="ADAL" clId="{3A17AF7F-858B-4AB1-A500-5ACF4155F568}" dt="2025-06-18T09:43:17.452" v="1674" actId="2711"/>
          <ac:spMkLst>
            <pc:docMk/>
            <pc:sldMk cId="428735658" sldId="1332"/>
            <ac:spMk id="8" creationId="{AB4291ED-DAC8-E24D-E6E0-27C91493A3E7}"/>
          </ac:spMkLst>
        </pc:spChg>
        <pc:spChg chg="mod">
          <ac:chgData name="Krishna Sharma" userId="daa697d5-8440-4694-9c7d-792884c08b9c" providerId="ADAL" clId="{3A17AF7F-858B-4AB1-A500-5ACF4155F568}" dt="2025-06-18T09:43:17.452" v="1674" actId="2711"/>
          <ac:spMkLst>
            <pc:docMk/>
            <pc:sldMk cId="428735658" sldId="1332"/>
            <ac:spMk id="16" creationId="{D8BE0ECB-67D2-D77D-3DE3-77BBB15B6307}"/>
          </ac:spMkLst>
        </pc:spChg>
        <pc:spChg chg="mod">
          <ac:chgData name="Krishna Sharma" userId="daa697d5-8440-4694-9c7d-792884c08b9c" providerId="ADAL" clId="{3A17AF7F-858B-4AB1-A500-5ACF4155F568}" dt="2025-06-18T09:43:17.452" v="1674" actId="2711"/>
          <ac:spMkLst>
            <pc:docMk/>
            <pc:sldMk cId="428735658" sldId="1332"/>
            <ac:spMk id="40" creationId="{35C3539D-541B-7D71-FE86-23E103310C97}"/>
          </ac:spMkLst>
        </pc:spChg>
        <pc:spChg chg="mod">
          <ac:chgData name="Krishna Sharma" userId="daa697d5-8440-4694-9c7d-792884c08b9c" providerId="ADAL" clId="{3A17AF7F-858B-4AB1-A500-5ACF4155F568}" dt="2025-06-18T09:43:17.452" v="1674" actId="2711"/>
          <ac:spMkLst>
            <pc:docMk/>
            <pc:sldMk cId="428735658" sldId="1332"/>
            <ac:spMk id="42" creationId="{E59BDEE0-3FE0-48C2-9DAC-65E03363C6EB}"/>
          </ac:spMkLst>
        </pc:spChg>
        <pc:spChg chg="mod">
          <ac:chgData name="Krishna Sharma" userId="daa697d5-8440-4694-9c7d-792884c08b9c" providerId="ADAL" clId="{3A17AF7F-858B-4AB1-A500-5ACF4155F568}" dt="2025-06-18T09:43:17.452" v="1674" actId="2711"/>
          <ac:spMkLst>
            <pc:docMk/>
            <pc:sldMk cId="428735658" sldId="1332"/>
            <ac:spMk id="43" creationId="{880D0325-0359-5F4D-C172-C47D7E2325C1}"/>
          </ac:spMkLst>
        </pc:spChg>
        <pc:spChg chg="mod">
          <ac:chgData name="Krishna Sharma" userId="daa697d5-8440-4694-9c7d-792884c08b9c" providerId="ADAL" clId="{3A17AF7F-858B-4AB1-A500-5ACF4155F568}" dt="2025-06-18T09:43:17.452" v="1674" actId="2711"/>
          <ac:spMkLst>
            <pc:docMk/>
            <pc:sldMk cId="428735658" sldId="1332"/>
            <ac:spMk id="44" creationId="{B3467FD4-E7A4-AB78-8D02-D0813686AD10}"/>
          </ac:spMkLst>
        </pc:spChg>
        <pc:spChg chg="mod">
          <ac:chgData name="Krishna Sharma" userId="daa697d5-8440-4694-9c7d-792884c08b9c" providerId="ADAL" clId="{3A17AF7F-858B-4AB1-A500-5ACF4155F568}" dt="2025-06-18T09:43:17.452" v="1674" actId="2711"/>
          <ac:spMkLst>
            <pc:docMk/>
            <pc:sldMk cId="428735658" sldId="1332"/>
            <ac:spMk id="45" creationId="{65330AB2-AA15-C8D2-1151-09AA3113DB3A}"/>
          </ac:spMkLst>
        </pc:spChg>
        <pc:spChg chg="mod">
          <ac:chgData name="Krishna Sharma" userId="daa697d5-8440-4694-9c7d-792884c08b9c" providerId="ADAL" clId="{3A17AF7F-858B-4AB1-A500-5ACF4155F568}" dt="2025-06-18T09:43:17.452" v="1674" actId="2711"/>
          <ac:spMkLst>
            <pc:docMk/>
            <pc:sldMk cId="428735658" sldId="1332"/>
            <ac:spMk id="46" creationId="{70002A5E-59D9-8097-59FF-F37B500F3601}"/>
          </ac:spMkLst>
        </pc:spChg>
        <pc:picChg chg="add mod">
          <ac:chgData name="Krishna Sharma" userId="daa697d5-8440-4694-9c7d-792884c08b9c" providerId="ADAL" clId="{3A17AF7F-858B-4AB1-A500-5ACF4155F568}" dt="2025-06-18T11:44:10.010" v="2083"/>
          <ac:picMkLst>
            <pc:docMk/>
            <pc:sldMk cId="428735658" sldId="1332"/>
            <ac:picMk id="5" creationId="{04B338C1-8DCF-76C6-97FF-3A872C9572F9}"/>
          </ac:picMkLst>
        </pc:picChg>
        <pc:picChg chg="add mod">
          <ac:chgData name="Krishna Sharma" userId="daa697d5-8440-4694-9c7d-792884c08b9c" providerId="ADAL" clId="{3A17AF7F-858B-4AB1-A500-5ACF4155F568}" dt="2025-06-18T11:44:10.010" v="2083"/>
          <ac:picMkLst>
            <pc:docMk/>
            <pc:sldMk cId="428735658" sldId="1332"/>
            <ac:picMk id="6" creationId="{2843F6C7-C784-74B8-3CD6-D579026F44FB}"/>
          </ac:picMkLst>
        </pc:picChg>
      </pc:sldChg>
      <pc:sldChg chg="modSp mod">
        <pc:chgData name="Krishna Sharma" userId="daa697d5-8440-4694-9c7d-792884c08b9c" providerId="ADAL" clId="{3A17AF7F-858B-4AB1-A500-5ACF4155F568}" dt="2025-06-18T09:43:26.823" v="1675" actId="2711"/>
        <pc:sldMkLst>
          <pc:docMk/>
          <pc:sldMk cId="1218190992" sldId="1334"/>
        </pc:sldMkLst>
        <pc:spChg chg="mod">
          <ac:chgData name="Krishna Sharma" userId="daa697d5-8440-4694-9c7d-792884c08b9c" providerId="ADAL" clId="{3A17AF7F-858B-4AB1-A500-5ACF4155F568}" dt="2025-06-18T09:43:26.823" v="1675" actId="2711"/>
          <ac:spMkLst>
            <pc:docMk/>
            <pc:sldMk cId="1218190992" sldId="1334"/>
            <ac:spMk id="2" creationId="{F8BBC0D6-1518-EEA3-9970-8C4D30604055}"/>
          </ac:spMkLst>
        </pc:spChg>
        <pc:spChg chg="mod">
          <ac:chgData name="Krishna Sharma" userId="daa697d5-8440-4694-9c7d-792884c08b9c" providerId="ADAL" clId="{3A17AF7F-858B-4AB1-A500-5ACF4155F568}" dt="2025-06-18T09:43:26.823" v="1675" actId="2711"/>
          <ac:spMkLst>
            <pc:docMk/>
            <pc:sldMk cId="1218190992" sldId="1334"/>
            <ac:spMk id="3" creationId="{7BE0A292-E6BB-DFDF-7ED5-241A4784E403}"/>
          </ac:spMkLst>
        </pc:spChg>
        <pc:spChg chg="mod">
          <ac:chgData name="Krishna Sharma" userId="daa697d5-8440-4694-9c7d-792884c08b9c" providerId="ADAL" clId="{3A17AF7F-858B-4AB1-A500-5ACF4155F568}" dt="2025-06-18T09:43:26.823" v="1675" actId="2711"/>
          <ac:spMkLst>
            <pc:docMk/>
            <pc:sldMk cId="1218190992" sldId="1334"/>
            <ac:spMk id="4" creationId="{79583540-8931-16D2-B58C-69FCCDC30F3C}"/>
          </ac:spMkLst>
        </pc:spChg>
        <pc:spChg chg="mod">
          <ac:chgData name="Krishna Sharma" userId="daa697d5-8440-4694-9c7d-792884c08b9c" providerId="ADAL" clId="{3A17AF7F-858B-4AB1-A500-5ACF4155F568}" dt="2025-06-18T09:43:26.823" v="1675" actId="2711"/>
          <ac:spMkLst>
            <pc:docMk/>
            <pc:sldMk cId="1218190992" sldId="1334"/>
            <ac:spMk id="8" creationId="{EF99ADBC-1213-4631-7663-DC8981BB1885}"/>
          </ac:spMkLst>
        </pc:spChg>
      </pc:sldChg>
      <pc:sldChg chg="modSp mod">
        <pc:chgData name="Krishna Sharma" userId="daa697d5-8440-4694-9c7d-792884c08b9c" providerId="ADAL" clId="{3A17AF7F-858B-4AB1-A500-5ACF4155F568}" dt="2025-06-18T09:43:34.866" v="1676" actId="2711"/>
        <pc:sldMkLst>
          <pc:docMk/>
          <pc:sldMk cId="2891399107" sldId="1335"/>
        </pc:sldMkLst>
        <pc:spChg chg="mod">
          <ac:chgData name="Krishna Sharma" userId="daa697d5-8440-4694-9c7d-792884c08b9c" providerId="ADAL" clId="{3A17AF7F-858B-4AB1-A500-5ACF4155F568}" dt="2025-06-18T09:43:34.866" v="1676" actId="2711"/>
          <ac:spMkLst>
            <pc:docMk/>
            <pc:sldMk cId="2891399107" sldId="1335"/>
            <ac:spMk id="2" creationId="{DF0A4362-B8C4-C485-D440-8E5C56061B29}"/>
          </ac:spMkLst>
        </pc:spChg>
        <pc:spChg chg="mod">
          <ac:chgData name="Krishna Sharma" userId="daa697d5-8440-4694-9c7d-792884c08b9c" providerId="ADAL" clId="{3A17AF7F-858B-4AB1-A500-5ACF4155F568}" dt="2025-06-18T09:43:34.866" v="1676" actId="2711"/>
          <ac:spMkLst>
            <pc:docMk/>
            <pc:sldMk cId="2891399107" sldId="1335"/>
            <ac:spMk id="7" creationId="{B7F17D20-DFE6-B7A8-F6F1-A09F4A0727C0}"/>
          </ac:spMkLst>
        </pc:spChg>
        <pc:spChg chg="mod">
          <ac:chgData name="Krishna Sharma" userId="daa697d5-8440-4694-9c7d-792884c08b9c" providerId="ADAL" clId="{3A17AF7F-858B-4AB1-A500-5ACF4155F568}" dt="2025-06-18T09:43:34.866" v="1676" actId="2711"/>
          <ac:spMkLst>
            <pc:docMk/>
            <pc:sldMk cId="2891399107" sldId="1335"/>
            <ac:spMk id="9" creationId="{DFE750A8-DBBA-71C8-0371-A04FB744DD4E}"/>
          </ac:spMkLst>
        </pc:spChg>
        <pc:spChg chg="mod">
          <ac:chgData name="Krishna Sharma" userId="daa697d5-8440-4694-9c7d-792884c08b9c" providerId="ADAL" clId="{3A17AF7F-858B-4AB1-A500-5ACF4155F568}" dt="2025-06-18T09:43:34.866" v="1676" actId="2711"/>
          <ac:spMkLst>
            <pc:docMk/>
            <pc:sldMk cId="2891399107" sldId="1335"/>
            <ac:spMk id="10" creationId="{AC57FCA5-7153-57FD-8D68-2E63D4819A00}"/>
          </ac:spMkLst>
        </pc:spChg>
        <pc:spChg chg="mod">
          <ac:chgData name="Krishna Sharma" userId="daa697d5-8440-4694-9c7d-792884c08b9c" providerId="ADAL" clId="{3A17AF7F-858B-4AB1-A500-5ACF4155F568}" dt="2025-06-18T09:43:34.866" v="1676" actId="2711"/>
          <ac:spMkLst>
            <pc:docMk/>
            <pc:sldMk cId="2891399107" sldId="1335"/>
            <ac:spMk id="11" creationId="{0F616244-E86D-0705-9530-DDDB4430D3F1}"/>
          </ac:spMkLst>
        </pc:spChg>
        <pc:spChg chg="mod">
          <ac:chgData name="Krishna Sharma" userId="daa697d5-8440-4694-9c7d-792884c08b9c" providerId="ADAL" clId="{3A17AF7F-858B-4AB1-A500-5ACF4155F568}" dt="2025-06-18T09:43:34.866" v="1676" actId="2711"/>
          <ac:spMkLst>
            <pc:docMk/>
            <pc:sldMk cId="2891399107" sldId="1335"/>
            <ac:spMk id="12" creationId="{A4A7E40E-364E-F527-EC15-713BB1EDEDE4}"/>
          </ac:spMkLst>
        </pc:spChg>
        <pc:spChg chg="mod">
          <ac:chgData name="Krishna Sharma" userId="daa697d5-8440-4694-9c7d-792884c08b9c" providerId="ADAL" clId="{3A17AF7F-858B-4AB1-A500-5ACF4155F568}" dt="2025-06-18T09:43:34.866" v="1676" actId="2711"/>
          <ac:spMkLst>
            <pc:docMk/>
            <pc:sldMk cId="2891399107" sldId="1335"/>
            <ac:spMk id="13" creationId="{1BCA774F-9C4C-65E5-0437-5623A94477AF}"/>
          </ac:spMkLst>
        </pc:spChg>
        <pc:spChg chg="mod">
          <ac:chgData name="Krishna Sharma" userId="daa697d5-8440-4694-9c7d-792884c08b9c" providerId="ADAL" clId="{3A17AF7F-858B-4AB1-A500-5ACF4155F568}" dt="2025-06-18T09:43:34.866" v="1676" actId="2711"/>
          <ac:spMkLst>
            <pc:docMk/>
            <pc:sldMk cId="2891399107" sldId="1335"/>
            <ac:spMk id="14" creationId="{FC3EC3DD-F322-EDB1-C251-E1D5FC11E3BC}"/>
          </ac:spMkLst>
        </pc:spChg>
        <pc:spChg chg="mod">
          <ac:chgData name="Krishna Sharma" userId="daa697d5-8440-4694-9c7d-792884c08b9c" providerId="ADAL" clId="{3A17AF7F-858B-4AB1-A500-5ACF4155F568}" dt="2025-06-18T09:43:34.866" v="1676" actId="2711"/>
          <ac:spMkLst>
            <pc:docMk/>
            <pc:sldMk cId="2891399107" sldId="1335"/>
            <ac:spMk id="15" creationId="{BF08DDD4-12CA-D218-0FF6-26FF14F0B230}"/>
          </ac:spMkLst>
        </pc:spChg>
        <pc:spChg chg="mod">
          <ac:chgData name="Krishna Sharma" userId="daa697d5-8440-4694-9c7d-792884c08b9c" providerId="ADAL" clId="{3A17AF7F-858B-4AB1-A500-5ACF4155F568}" dt="2025-06-18T09:43:34.866" v="1676" actId="2711"/>
          <ac:spMkLst>
            <pc:docMk/>
            <pc:sldMk cId="2891399107" sldId="1335"/>
            <ac:spMk id="16" creationId="{F12C9FC3-8EF2-095C-1D0E-38907CBE8E52}"/>
          </ac:spMkLst>
        </pc:spChg>
      </pc:sldChg>
      <pc:sldChg chg="modSp mod">
        <pc:chgData name="Krishna Sharma" userId="daa697d5-8440-4694-9c7d-792884c08b9c" providerId="ADAL" clId="{3A17AF7F-858B-4AB1-A500-5ACF4155F568}" dt="2025-06-11T05:45:20.519" v="670"/>
        <pc:sldMkLst>
          <pc:docMk/>
          <pc:sldMk cId="1966804136" sldId="1368"/>
        </pc:sldMkLst>
        <pc:spChg chg="mod">
          <ac:chgData name="Krishna Sharma" userId="daa697d5-8440-4694-9c7d-792884c08b9c" providerId="ADAL" clId="{3A17AF7F-858B-4AB1-A500-5ACF4155F568}" dt="2025-06-11T05:45:20.519" v="670"/>
          <ac:spMkLst>
            <pc:docMk/>
            <pc:sldMk cId="1966804136" sldId="1368"/>
            <ac:spMk id="74" creationId="{FA8117EA-2F85-5531-4CCB-0C705D450F59}"/>
          </ac:spMkLst>
        </pc:spChg>
      </pc:sldChg>
      <pc:sldChg chg="modSp mod">
        <pc:chgData name="Krishna Sharma" userId="daa697d5-8440-4694-9c7d-792884c08b9c" providerId="ADAL" clId="{3A17AF7F-858B-4AB1-A500-5ACF4155F568}" dt="2025-06-11T05:48:08.516" v="696" actId="20577"/>
        <pc:sldMkLst>
          <pc:docMk/>
          <pc:sldMk cId="1056810274" sldId="1370"/>
        </pc:sldMkLst>
        <pc:spChg chg="mod">
          <ac:chgData name="Krishna Sharma" userId="daa697d5-8440-4694-9c7d-792884c08b9c" providerId="ADAL" clId="{3A17AF7F-858B-4AB1-A500-5ACF4155F568}" dt="2025-06-11T05:48:08.516" v="696" actId="20577"/>
          <ac:spMkLst>
            <pc:docMk/>
            <pc:sldMk cId="1056810274" sldId="1370"/>
            <ac:spMk id="4" creationId="{5A14BD05-70B8-5B0C-AD64-B8FA9DC5982B}"/>
          </ac:spMkLst>
        </pc:spChg>
      </pc:sldChg>
      <pc:sldChg chg="modSp mod">
        <pc:chgData name="Krishna Sharma" userId="daa697d5-8440-4694-9c7d-792884c08b9c" providerId="ADAL" clId="{3A17AF7F-858B-4AB1-A500-5ACF4155F568}" dt="2025-06-11T05:51:52.940" v="701" actId="20577"/>
        <pc:sldMkLst>
          <pc:docMk/>
          <pc:sldMk cId="2044274387" sldId="1374"/>
        </pc:sldMkLst>
        <pc:spChg chg="mod">
          <ac:chgData name="Krishna Sharma" userId="daa697d5-8440-4694-9c7d-792884c08b9c" providerId="ADAL" clId="{3A17AF7F-858B-4AB1-A500-5ACF4155F568}" dt="2025-06-11T05:51:52.940" v="701" actId="20577"/>
          <ac:spMkLst>
            <pc:docMk/>
            <pc:sldMk cId="2044274387" sldId="1374"/>
            <ac:spMk id="23" creationId="{FE06691F-2160-99ED-D700-9764C28AD3C5}"/>
          </ac:spMkLst>
        </pc:spChg>
      </pc:sldChg>
      <pc:sldChg chg="modSp mod">
        <pc:chgData name="Krishna Sharma" userId="daa697d5-8440-4694-9c7d-792884c08b9c" providerId="ADAL" clId="{3A17AF7F-858B-4AB1-A500-5ACF4155F568}" dt="2025-06-11T06:08:39.396" v="760" actId="14100"/>
        <pc:sldMkLst>
          <pc:docMk/>
          <pc:sldMk cId="1609862685" sldId="1400"/>
        </pc:sldMkLst>
        <pc:spChg chg="mod">
          <ac:chgData name="Krishna Sharma" userId="daa697d5-8440-4694-9c7d-792884c08b9c" providerId="ADAL" clId="{3A17AF7F-858B-4AB1-A500-5ACF4155F568}" dt="2025-06-10T11:53:58.441" v="89" actId="20577"/>
          <ac:spMkLst>
            <pc:docMk/>
            <pc:sldMk cId="1609862685" sldId="1400"/>
            <ac:spMk id="25" creationId="{32DB49DE-67E4-2B5E-3F94-3682BE482060}"/>
          </ac:spMkLst>
        </pc:spChg>
      </pc:sldChg>
      <pc:sldChg chg="modSp mod">
        <pc:chgData name="Krishna Sharma" userId="daa697d5-8440-4694-9c7d-792884c08b9c" providerId="ADAL" clId="{3A17AF7F-858B-4AB1-A500-5ACF4155F568}" dt="2025-06-11T06:09:38.947" v="781" actId="20577"/>
        <pc:sldMkLst>
          <pc:docMk/>
          <pc:sldMk cId="1514397412" sldId="1401"/>
        </pc:sldMkLst>
        <pc:spChg chg="mod">
          <ac:chgData name="Krishna Sharma" userId="daa697d5-8440-4694-9c7d-792884c08b9c" providerId="ADAL" clId="{3A17AF7F-858B-4AB1-A500-5ACF4155F568}" dt="2025-06-11T06:09:38.947" v="781" actId="20577"/>
          <ac:spMkLst>
            <pc:docMk/>
            <pc:sldMk cId="1514397412" sldId="1401"/>
            <ac:spMk id="7" creationId="{6184B2C6-26FA-D4D7-555C-21D394ABC1ED}"/>
          </ac:spMkLst>
        </pc:spChg>
      </pc:sldChg>
      <pc:sldChg chg="modSp mod">
        <pc:chgData name="Krishna Sharma" userId="daa697d5-8440-4694-9c7d-792884c08b9c" providerId="ADAL" clId="{3A17AF7F-858B-4AB1-A500-5ACF4155F568}" dt="2025-06-11T06:10:51.491" v="793" actId="20577"/>
        <pc:sldMkLst>
          <pc:docMk/>
          <pc:sldMk cId="1359705919" sldId="1404"/>
        </pc:sldMkLst>
      </pc:sldChg>
      <pc:sldChg chg="modSp mod">
        <pc:chgData name="Krishna Sharma" userId="daa697d5-8440-4694-9c7d-792884c08b9c" providerId="ADAL" clId="{3A17AF7F-858B-4AB1-A500-5ACF4155F568}" dt="2025-06-11T06:13:25.189" v="813" actId="1035"/>
        <pc:sldMkLst>
          <pc:docMk/>
          <pc:sldMk cId="1618323921" sldId="1405"/>
        </pc:sldMkLst>
        <pc:spChg chg="mod">
          <ac:chgData name="Krishna Sharma" userId="daa697d5-8440-4694-9c7d-792884c08b9c" providerId="ADAL" clId="{3A17AF7F-858B-4AB1-A500-5ACF4155F568}" dt="2025-06-10T11:54:53.926" v="92"/>
          <ac:spMkLst>
            <pc:docMk/>
            <pc:sldMk cId="1618323921" sldId="1405"/>
            <ac:spMk id="26" creationId="{43608BD4-54A1-800F-5400-871C080B8C4B}"/>
          </ac:spMkLst>
        </pc:spChg>
        <pc:spChg chg="mod">
          <ac:chgData name="Krishna Sharma" userId="daa697d5-8440-4694-9c7d-792884c08b9c" providerId="ADAL" clId="{3A17AF7F-858B-4AB1-A500-5ACF4155F568}" dt="2025-06-11T06:13:25.189" v="813" actId="1035"/>
          <ac:spMkLst>
            <pc:docMk/>
            <pc:sldMk cId="1618323921" sldId="1405"/>
            <ac:spMk id="45" creationId="{BB46AB0F-730A-C378-3E71-DC2064622A97}"/>
          </ac:spMkLst>
        </pc:spChg>
      </pc:sldChg>
      <pc:sldChg chg="modSp mod">
        <pc:chgData name="Krishna Sharma" userId="daa697d5-8440-4694-9c7d-792884c08b9c" providerId="ADAL" clId="{3A17AF7F-858B-4AB1-A500-5ACF4155F568}" dt="2025-06-11T06:19:46.367" v="832" actId="20577"/>
        <pc:sldMkLst>
          <pc:docMk/>
          <pc:sldMk cId="767093200" sldId="1406"/>
        </pc:sldMkLst>
        <pc:spChg chg="mod">
          <ac:chgData name="Krishna Sharma" userId="daa697d5-8440-4694-9c7d-792884c08b9c" providerId="ADAL" clId="{3A17AF7F-858B-4AB1-A500-5ACF4155F568}" dt="2025-06-10T11:55:19.202" v="95"/>
          <ac:spMkLst>
            <pc:docMk/>
            <pc:sldMk cId="767093200" sldId="1406"/>
            <ac:spMk id="7" creationId="{7D05CF39-147B-B89E-B821-C8605F9C298B}"/>
          </ac:spMkLst>
        </pc:spChg>
        <pc:spChg chg="mod">
          <ac:chgData name="Krishna Sharma" userId="daa697d5-8440-4694-9c7d-792884c08b9c" providerId="ADAL" clId="{3A17AF7F-858B-4AB1-A500-5ACF4155F568}" dt="2025-06-11T06:19:46.367" v="832" actId="20577"/>
          <ac:spMkLst>
            <pc:docMk/>
            <pc:sldMk cId="767093200" sldId="1406"/>
            <ac:spMk id="17" creationId="{2DCEBCD8-1526-3ED3-E82A-26AFB5B5D5D6}"/>
          </ac:spMkLst>
        </pc:spChg>
      </pc:sldChg>
      <pc:sldChg chg="modSp mod">
        <pc:chgData name="Krishna Sharma" userId="daa697d5-8440-4694-9c7d-792884c08b9c" providerId="ADAL" clId="{3A17AF7F-858B-4AB1-A500-5ACF4155F568}" dt="2025-06-11T06:12:41.241" v="804" actId="14100"/>
        <pc:sldMkLst>
          <pc:docMk/>
          <pc:sldMk cId="4031355153" sldId="1407"/>
        </pc:sldMkLst>
        <pc:spChg chg="mod">
          <ac:chgData name="Krishna Sharma" userId="daa697d5-8440-4694-9c7d-792884c08b9c" providerId="ADAL" clId="{3A17AF7F-858B-4AB1-A500-5ACF4155F568}" dt="2025-06-11T06:12:35.992" v="803" actId="14100"/>
          <ac:spMkLst>
            <pc:docMk/>
            <pc:sldMk cId="4031355153" sldId="1407"/>
            <ac:spMk id="44" creationId="{5F9868CA-D8D2-4604-D1BC-49240AC162A9}"/>
          </ac:spMkLst>
        </pc:spChg>
      </pc:sldChg>
      <pc:sldChg chg="modSp mod">
        <pc:chgData name="Krishna Sharma" userId="daa697d5-8440-4694-9c7d-792884c08b9c" providerId="ADAL" clId="{3A17AF7F-858B-4AB1-A500-5ACF4155F568}" dt="2025-06-11T06:21:18.967" v="841" actId="20577"/>
        <pc:sldMkLst>
          <pc:docMk/>
          <pc:sldMk cId="1180124282" sldId="1409"/>
        </pc:sldMkLst>
        <pc:spChg chg="mod">
          <ac:chgData name="Krishna Sharma" userId="daa697d5-8440-4694-9c7d-792884c08b9c" providerId="ADAL" clId="{3A17AF7F-858B-4AB1-A500-5ACF4155F568}" dt="2025-06-11T06:21:18.967" v="841" actId="20577"/>
          <ac:spMkLst>
            <pc:docMk/>
            <pc:sldMk cId="1180124282" sldId="1409"/>
            <ac:spMk id="25" creationId="{C8A189D6-3565-5431-5D62-978E2B355E99}"/>
          </ac:spMkLst>
        </pc:spChg>
      </pc:sldChg>
      <pc:sldChg chg="modSp mod">
        <pc:chgData name="Krishna Sharma" userId="daa697d5-8440-4694-9c7d-792884c08b9c" providerId="ADAL" clId="{3A17AF7F-858B-4AB1-A500-5ACF4155F568}" dt="2025-06-11T06:25:14.567" v="905"/>
        <pc:sldMkLst>
          <pc:docMk/>
          <pc:sldMk cId="2193362245" sldId="1416"/>
        </pc:sldMkLst>
        <pc:spChg chg="mod">
          <ac:chgData name="Krishna Sharma" userId="daa697d5-8440-4694-9c7d-792884c08b9c" providerId="ADAL" clId="{3A17AF7F-858B-4AB1-A500-5ACF4155F568}" dt="2025-06-11T06:25:14.567" v="905"/>
          <ac:spMkLst>
            <pc:docMk/>
            <pc:sldMk cId="2193362245" sldId="1416"/>
            <ac:spMk id="25" creationId="{BE307DF5-CED8-5D4C-AD30-81FDC8691E78}"/>
          </ac:spMkLst>
        </pc:spChg>
      </pc:sldChg>
      <pc:sldChg chg="modSp mod">
        <pc:chgData name="Krishna Sharma" userId="daa697d5-8440-4694-9c7d-792884c08b9c" providerId="ADAL" clId="{3A17AF7F-858B-4AB1-A500-5ACF4155F568}" dt="2025-06-10T11:55:55.203" v="98"/>
        <pc:sldMkLst>
          <pc:docMk/>
          <pc:sldMk cId="401956825" sldId="1422"/>
        </pc:sldMkLst>
      </pc:sldChg>
      <pc:sldChg chg="modSp mod">
        <pc:chgData name="Krishna Sharma" userId="daa697d5-8440-4694-9c7d-792884c08b9c" providerId="ADAL" clId="{3A17AF7F-858B-4AB1-A500-5ACF4155F568}" dt="2025-06-11T06:29:14.893" v="924" actId="20577"/>
        <pc:sldMkLst>
          <pc:docMk/>
          <pc:sldMk cId="421499063" sldId="1423"/>
        </pc:sldMkLst>
      </pc:sldChg>
      <pc:sldChg chg="modSp mod">
        <pc:chgData name="Krishna Sharma" userId="daa697d5-8440-4694-9c7d-792884c08b9c" providerId="ADAL" clId="{3A17AF7F-858B-4AB1-A500-5ACF4155F568}" dt="2025-06-11T06:30:26.238" v="930" actId="20577"/>
        <pc:sldMkLst>
          <pc:docMk/>
          <pc:sldMk cId="1630084977" sldId="1424"/>
        </pc:sldMkLst>
        <pc:spChg chg="mod">
          <ac:chgData name="Krishna Sharma" userId="daa697d5-8440-4694-9c7d-792884c08b9c" providerId="ADAL" clId="{3A17AF7F-858B-4AB1-A500-5ACF4155F568}" dt="2025-06-11T06:30:26.238" v="930" actId="20577"/>
          <ac:spMkLst>
            <pc:docMk/>
            <pc:sldMk cId="1630084977" sldId="1424"/>
            <ac:spMk id="21" creationId="{80FF1AD4-2A9F-7EB7-F979-544C00955903}"/>
          </ac:spMkLst>
        </pc:spChg>
      </pc:sldChg>
      <pc:sldChg chg="modSp mod">
        <pc:chgData name="Krishna Sharma" userId="daa697d5-8440-4694-9c7d-792884c08b9c" providerId="ADAL" clId="{3A17AF7F-858B-4AB1-A500-5ACF4155F568}" dt="2025-06-11T06:31:30.828" v="937" actId="14100"/>
        <pc:sldMkLst>
          <pc:docMk/>
          <pc:sldMk cId="149391360" sldId="1425"/>
        </pc:sldMkLst>
      </pc:sldChg>
      <pc:sldChg chg="modSp mod">
        <pc:chgData name="Krishna Sharma" userId="daa697d5-8440-4694-9c7d-792884c08b9c" providerId="ADAL" clId="{3A17AF7F-858B-4AB1-A500-5ACF4155F568}" dt="2025-06-11T06:32:24.955" v="944" actId="20577"/>
        <pc:sldMkLst>
          <pc:docMk/>
          <pc:sldMk cId="1185609157" sldId="1428"/>
        </pc:sldMkLst>
      </pc:sldChg>
      <pc:sldChg chg="modSp mod">
        <pc:chgData name="Krishna Sharma" userId="daa697d5-8440-4694-9c7d-792884c08b9c" providerId="ADAL" clId="{3A17AF7F-858B-4AB1-A500-5ACF4155F568}" dt="2025-06-11T06:33:13.708" v="950" actId="20577"/>
        <pc:sldMkLst>
          <pc:docMk/>
          <pc:sldMk cId="295625867" sldId="1429"/>
        </pc:sldMkLst>
      </pc:sldChg>
      <pc:sldChg chg="modSp mod">
        <pc:chgData name="Krishna Sharma" userId="daa697d5-8440-4694-9c7d-792884c08b9c" providerId="ADAL" clId="{3A17AF7F-858B-4AB1-A500-5ACF4155F568}" dt="2025-06-11T06:35:58.352" v="972" actId="20577"/>
        <pc:sldMkLst>
          <pc:docMk/>
          <pc:sldMk cId="296054934" sldId="1431"/>
        </pc:sldMkLst>
      </pc:sldChg>
      <pc:sldChg chg="modSp mod">
        <pc:chgData name="Krishna Sharma" userId="daa697d5-8440-4694-9c7d-792884c08b9c" providerId="ADAL" clId="{3A17AF7F-858B-4AB1-A500-5ACF4155F568}" dt="2025-06-10T11:57:49.741" v="115" actId="1036"/>
        <pc:sldMkLst>
          <pc:docMk/>
          <pc:sldMk cId="1115682485" sldId="1432"/>
        </pc:sldMkLst>
      </pc:sldChg>
      <pc:sldChg chg="modSp mod">
        <pc:chgData name="Krishna Sharma" userId="daa697d5-8440-4694-9c7d-792884c08b9c" providerId="ADAL" clId="{3A17AF7F-858B-4AB1-A500-5ACF4155F568}" dt="2025-06-11T06:37:32.616" v="986" actId="20577"/>
        <pc:sldMkLst>
          <pc:docMk/>
          <pc:sldMk cId="1521786324" sldId="1434"/>
        </pc:sldMkLst>
      </pc:sldChg>
      <pc:sldChg chg="modSp mod">
        <pc:chgData name="Krishna Sharma" userId="daa697d5-8440-4694-9c7d-792884c08b9c" providerId="ADAL" clId="{3A17AF7F-858B-4AB1-A500-5ACF4155F568}" dt="2025-06-11T06:39:22.861" v="1003" actId="20577"/>
        <pc:sldMkLst>
          <pc:docMk/>
          <pc:sldMk cId="702474907" sldId="1435"/>
        </pc:sldMkLst>
      </pc:sldChg>
      <pc:sldChg chg="modSp mod">
        <pc:chgData name="Krishna Sharma" userId="daa697d5-8440-4694-9c7d-792884c08b9c" providerId="ADAL" clId="{3A17AF7F-858B-4AB1-A500-5ACF4155F568}" dt="2025-06-11T06:40:20.997" v="1032" actId="20577"/>
        <pc:sldMkLst>
          <pc:docMk/>
          <pc:sldMk cId="3136698276" sldId="1436"/>
        </pc:sldMkLst>
      </pc:sldChg>
      <pc:sldChg chg="modSp mod">
        <pc:chgData name="Krishna Sharma" userId="daa697d5-8440-4694-9c7d-792884c08b9c" providerId="ADAL" clId="{3A17AF7F-858B-4AB1-A500-5ACF4155F568}" dt="2025-06-11T06:42:01.620" v="1046" actId="313"/>
        <pc:sldMkLst>
          <pc:docMk/>
          <pc:sldMk cId="150165841" sldId="1438"/>
        </pc:sldMkLst>
      </pc:sldChg>
      <pc:sldChg chg="modSp mod">
        <pc:chgData name="Krishna Sharma" userId="daa697d5-8440-4694-9c7d-792884c08b9c" providerId="ADAL" clId="{3A17AF7F-858B-4AB1-A500-5ACF4155F568}" dt="2025-06-10T11:59:57.998" v="129"/>
        <pc:sldMkLst>
          <pc:docMk/>
          <pc:sldMk cId="2013412701" sldId="1439"/>
        </pc:sldMkLst>
      </pc:sldChg>
      <pc:sldChg chg="modSp mod">
        <pc:chgData name="Krishna Sharma" userId="daa697d5-8440-4694-9c7d-792884c08b9c" providerId="ADAL" clId="{3A17AF7F-858B-4AB1-A500-5ACF4155F568}" dt="2025-06-10T12:00:40.945" v="133" actId="20577"/>
        <pc:sldMkLst>
          <pc:docMk/>
          <pc:sldMk cId="799131380" sldId="1440"/>
        </pc:sldMkLst>
      </pc:sldChg>
      <pc:sldChg chg="addSp delSp modSp mod">
        <pc:chgData name="Krishna Sharma" userId="daa697d5-8440-4694-9c7d-792884c08b9c" providerId="ADAL" clId="{3A17AF7F-858B-4AB1-A500-5ACF4155F568}" dt="2025-06-18T09:51:39.451" v="1694" actId="2711"/>
        <pc:sldMkLst>
          <pc:docMk/>
          <pc:sldMk cId="866224783" sldId="1457"/>
        </pc:sldMkLst>
        <pc:spChg chg="mod">
          <ac:chgData name="Krishna Sharma" userId="daa697d5-8440-4694-9c7d-792884c08b9c" providerId="ADAL" clId="{3A17AF7F-858B-4AB1-A500-5ACF4155F568}" dt="2025-06-18T09:51:39.451" v="1694" actId="2711"/>
          <ac:spMkLst>
            <pc:docMk/>
            <pc:sldMk cId="866224783" sldId="1457"/>
            <ac:spMk id="4" creationId="{0A2CC45E-B417-CCB0-7BA3-22531DEC9243}"/>
          </ac:spMkLst>
        </pc:spChg>
        <pc:spChg chg="mod">
          <ac:chgData name="Krishna Sharma" userId="daa697d5-8440-4694-9c7d-792884c08b9c" providerId="ADAL" clId="{3A17AF7F-858B-4AB1-A500-5ACF4155F568}" dt="2025-06-18T09:51:39.451" v="1694" actId="2711"/>
          <ac:spMkLst>
            <pc:docMk/>
            <pc:sldMk cId="866224783" sldId="1457"/>
            <ac:spMk id="6" creationId="{B64D2C42-AD46-815C-CDAB-5AEEFDBFCF6D}"/>
          </ac:spMkLst>
        </pc:spChg>
        <pc:spChg chg="mod">
          <ac:chgData name="Krishna Sharma" userId="daa697d5-8440-4694-9c7d-792884c08b9c" providerId="ADAL" clId="{3A17AF7F-858B-4AB1-A500-5ACF4155F568}" dt="2025-06-18T09:51:39.451" v="1694" actId="2711"/>
          <ac:spMkLst>
            <pc:docMk/>
            <pc:sldMk cId="866224783" sldId="1457"/>
            <ac:spMk id="47" creationId="{FD510B2C-E48F-8C33-F654-0A33E1FB9E9A}"/>
          </ac:spMkLst>
        </pc:spChg>
        <pc:spChg chg="mod">
          <ac:chgData name="Krishna Sharma" userId="daa697d5-8440-4694-9c7d-792884c08b9c" providerId="ADAL" clId="{3A17AF7F-858B-4AB1-A500-5ACF4155F568}" dt="2025-06-18T09:51:39.451" v="1694" actId="2711"/>
          <ac:spMkLst>
            <pc:docMk/>
            <pc:sldMk cId="866224783" sldId="1457"/>
            <ac:spMk id="57" creationId="{4185B6AD-F7B9-FAEC-ED29-550491FEB15F}"/>
          </ac:spMkLst>
        </pc:spChg>
        <pc:spChg chg="mod">
          <ac:chgData name="Krishna Sharma" userId="daa697d5-8440-4694-9c7d-792884c08b9c" providerId="ADAL" clId="{3A17AF7F-858B-4AB1-A500-5ACF4155F568}" dt="2025-06-18T09:51:39.451" v="1694" actId="2711"/>
          <ac:spMkLst>
            <pc:docMk/>
            <pc:sldMk cId="866224783" sldId="1457"/>
            <ac:spMk id="58" creationId="{5727D17E-75EA-8347-FFE5-DFD20EBC73F5}"/>
          </ac:spMkLst>
        </pc:spChg>
        <pc:spChg chg="mod">
          <ac:chgData name="Krishna Sharma" userId="daa697d5-8440-4694-9c7d-792884c08b9c" providerId="ADAL" clId="{3A17AF7F-858B-4AB1-A500-5ACF4155F568}" dt="2025-06-18T09:51:39.451" v="1694" actId="2711"/>
          <ac:spMkLst>
            <pc:docMk/>
            <pc:sldMk cId="866224783" sldId="1457"/>
            <ac:spMk id="60" creationId="{341C89B8-6226-C32D-6F4B-00BB1177E604}"/>
          </ac:spMkLst>
        </pc:spChg>
        <pc:spChg chg="mod">
          <ac:chgData name="Krishna Sharma" userId="daa697d5-8440-4694-9c7d-792884c08b9c" providerId="ADAL" clId="{3A17AF7F-858B-4AB1-A500-5ACF4155F568}" dt="2025-06-18T09:51:39.451" v="1694" actId="2711"/>
          <ac:spMkLst>
            <pc:docMk/>
            <pc:sldMk cId="866224783" sldId="1457"/>
            <ac:spMk id="61" creationId="{6F1FA80E-E6CD-EF9A-4981-635CCA9F4661}"/>
          </ac:spMkLst>
        </pc:spChg>
        <pc:spChg chg="mod">
          <ac:chgData name="Krishna Sharma" userId="daa697d5-8440-4694-9c7d-792884c08b9c" providerId="ADAL" clId="{3A17AF7F-858B-4AB1-A500-5ACF4155F568}" dt="2025-06-18T09:51:39.451" v="1694" actId="2711"/>
          <ac:spMkLst>
            <pc:docMk/>
            <pc:sldMk cId="866224783" sldId="1457"/>
            <ac:spMk id="63" creationId="{D09C6073-6D07-B228-92D4-5FCFB1E32783}"/>
          </ac:spMkLst>
        </pc:spChg>
        <pc:spChg chg="mod">
          <ac:chgData name="Krishna Sharma" userId="daa697d5-8440-4694-9c7d-792884c08b9c" providerId="ADAL" clId="{3A17AF7F-858B-4AB1-A500-5ACF4155F568}" dt="2025-06-18T09:51:39.451" v="1694" actId="2711"/>
          <ac:spMkLst>
            <pc:docMk/>
            <pc:sldMk cId="866224783" sldId="1457"/>
            <ac:spMk id="64" creationId="{58F40141-7742-406D-07CE-F6BEFAFD9E3D}"/>
          </ac:spMkLst>
        </pc:spChg>
        <pc:spChg chg="mod">
          <ac:chgData name="Krishna Sharma" userId="daa697d5-8440-4694-9c7d-792884c08b9c" providerId="ADAL" clId="{3A17AF7F-858B-4AB1-A500-5ACF4155F568}" dt="2025-06-18T09:51:39.451" v="1694" actId="2711"/>
          <ac:spMkLst>
            <pc:docMk/>
            <pc:sldMk cId="866224783" sldId="1457"/>
            <ac:spMk id="66" creationId="{6E9A4E0E-96E1-B7C0-017E-8A689EBEDB9B}"/>
          </ac:spMkLst>
        </pc:spChg>
        <pc:spChg chg="del">
          <ac:chgData name="Krishna Sharma" userId="daa697d5-8440-4694-9c7d-792884c08b9c" providerId="ADAL" clId="{3A17AF7F-858B-4AB1-A500-5ACF4155F568}" dt="2025-06-18T09:45:59.162" v="1689" actId="478"/>
          <ac:spMkLst>
            <pc:docMk/>
            <pc:sldMk cId="866224783" sldId="1457"/>
            <ac:spMk id="67" creationId="{ED89BCAD-FB83-B62E-4E98-EDD1BDAB8DB6}"/>
          </ac:spMkLst>
        </pc:spChg>
        <pc:picChg chg="add mod">
          <ac:chgData name="Krishna Sharma" userId="daa697d5-8440-4694-9c7d-792884c08b9c" providerId="ADAL" clId="{3A17AF7F-858B-4AB1-A500-5ACF4155F568}" dt="2025-06-18T09:45:55.784" v="1688" actId="1076"/>
          <ac:picMkLst>
            <pc:docMk/>
            <pc:sldMk cId="866224783" sldId="1457"/>
            <ac:picMk id="3" creationId="{71E86D17-3102-3CCA-E259-E48B759DB36B}"/>
          </ac:picMkLst>
        </pc:picChg>
        <pc:picChg chg="del">
          <ac:chgData name="Krishna Sharma" userId="daa697d5-8440-4694-9c7d-792884c08b9c" providerId="ADAL" clId="{3A17AF7F-858B-4AB1-A500-5ACF4155F568}" dt="2025-06-18T09:44:33.019" v="1684" actId="478"/>
          <ac:picMkLst>
            <pc:docMk/>
            <pc:sldMk cId="866224783" sldId="1457"/>
            <ac:picMk id="8" creationId="{38557F66-E5E0-3744-AD14-D597617F4BA0}"/>
          </ac:picMkLst>
        </pc:picChg>
      </pc:sldChg>
      <pc:sldChg chg="addSp delSp modSp mod">
        <pc:chgData name="Krishna Sharma" userId="daa697d5-8440-4694-9c7d-792884c08b9c" providerId="ADAL" clId="{3A17AF7F-858B-4AB1-A500-5ACF4155F568}" dt="2025-06-18T09:44:18.612" v="1681" actId="1076"/>
        <pc:sldMkLst>
          <pc:docMk/>
          <pc:sldMk cId="2310470516" sldId="1458"/>
        </pc:sldMkLst>
        <pc:picChg chg="del">
          <ac:chgData name="Krishna Sharma" userId="daa697d5-8440-4694-9c7d-792884c08b9c" providerId="ADAL" clId="{3A17AF7F-858B-4AB1-A500-5ACF4155F568}" dt="2025-06-18T09:43:38.291" v="1677" actId="478"/>
          <ac:picMkLst>
            <pc:docMk/>
            <pc:sldMk cId="2310470516" sldId="1458"/>
            <ac:picMk id="4" creationId="{25F4435E-D1E1-3F8D-E6FD-CF2C61395AB9}"/>
          </ac:picMkLst>
        </pc:picChg>
        <pc:picChg chg="add mod">
          <ac:chgData name="Krishna Sharma" userId="daa697d5-8440-4694-9c7d-792884c08b9c" providerId="ADAL" clId="{3A17AF7F-858B-4AB1-A500-5ACF4155F568}" dt="2025-06-18T09:44:18.612" v="1681" actId="1076"/>
          <ac:picMkLst>
            <pc:docMk/>
            <pc:sldMk cId="2310470516" sldId="1458"/>
            <ac:picMk id="5" creationId="{21B28C17-E26F-DA91-A95F-46F491E87E50}"/>
          </ac:picMkLst>
        </pc:picChg>
      </pc:sldChg>
      <pc:sldChg chg="addSp delSp modSp mod">
        <pc:chgData name="Krishna Sharma" userId="daa697d5-8440-4694-9c7d-792884c08b9c" providerId="ADAL" clId="{3A17AF7F-858B-4AB1-A500-5ACF4155F568}" dt="2025-06-18T09:44:22.732" v="1683"/>
        <pc:sldMkLst>
          <pc:docMk/>
          <pc:sldMk cId="295806820" sldId="1460"/>
        </pc:sldMkLst>
        <pc:picChg chg="del">
          <ac:chgData name="Krishna Sharma" userId="daa697d5-8440-4694-9c7d-792884c08b9c" providerId="ADAL" clId="{3A17AF7F-858B-4AB1-A500-5ACF4155F568}" dt="2025-06-18T09:44:21.701" v="1682" actId="478"/>
          <ac:picMkLst>
            <pc:docMk/>
            <pc:sldMk cId="295806820" sldId="1460"/>
            <ac:picMk id="4" creationId="{BBBA2AD3-B042-B824-6224-512614D3337D}"/>
          </ac:picMkLst>
        </pc:picChg>
        <pc:picChg chg="add mod">
          <ac:chgData name="Krishna Sharma" userId="daa697d5-8440-4694-9c7d-792884c08b9c" providerId="ADAL" clId="{3A17AF7F-858B-4AB1-A500-5ACF4155F568}" dt="2025-06-18T09:44:22.732" v="1683"/>
          <ac:picMkLst>
            <pc:docMk/>
            <pc:sldMk cId="295806820" sldId="1460"/>
            <ac:picMk id="5" creationId="{AC8D2B56-A7F7-E59D-C42A-A111F1B9BC63}"/>
          </ac:picMkLst>
        </pc:picChg>
      </pc:sldChg>
      <pc:sldChg chg="addSp delSp modSp mod">
        <pc:chgData name="Krishna Sharma" userId="daa697d5-8440-4694-9c7d-792884c08b9c" providerId="ADAL" clId="{3A17AF7F-858B-4AB1-A500-5ACF4155F568}" dt="2025-06-18T05:48:12.102" v="1265" actId="2711"/>
        <pc:sldMkLst>
          <pc:docMk/>
          <pc:sldMk cId="615437714" sldId="1475"/>
        </pc:sldMkLst>
        <pc:spChg chg="mod">
          <ac:chgData name="Krishna Sharma" userId="daa697d5-8440-4694-9c7d-792884c08b9c" providerId="ADAL" clId="{3A17AF7F-858B-4AB1-A500-5ACF4155F568}" dt="2025-06-18T05:48:12.102" v="1265" actId="2711"/>
          <ac:spMkLst>
            <pc:docMk/>
            <pc:sldMk cId="615437714" sldId="1475"/>
            <ac:spMk id="2" creationId="{D0B06A2C-8377-46BD-A1E3-1BA4F17B2253}"/>
          </ac:spMkLst>
        </pc:spChg>
        <pc:spChg chg="mod">
          <ac:chgData name="Krishna Sharma" userId="daa697d5-8440-4694-9c7d-792884c08b9c" providerId="ADAL" clId="{3A17AF7F-858B-4AB1-A500-5ACF4155F568}" dt="2025-06-18T05:48:12.102" v="1265" actId="2711"/>
          <ac:spMkLst>
            <pc:docMk/>
            <pc:sldMk cId="615437714" sldId="1475"/>
            <ac:spMk id="47" creationId="{702DD239-C10D-0B67-13D1-FABFDDAEC1E0}"/>
          </ac:spMkLst>
        </pc:spChg>
        <pc:spChg chg="mod">
          <ac:chgData name="Krishna Sharma" userId="daa697d5-8440-4694-9c7d-792884c08b9c" providerId="ADAL" clId="{3A17AF7F-858B-4AB1-A500-5ACF4155F568}" dt="2025-06-18T04:44:04.202" v="1077" actId="1076"/>
          <ac:spMkLst>
            <pc:docMk/>
            <pc:sldMk cId="615437714" sldId="1475"/>
            <ac:spMk id="48" creationId="{58538F3B-C6C5-BA14-7E93-8AE116630FB0}"/>
          </ac:spMkLst>
        </pc:spChg>
        <pc:spChg chg="mod">
          <ac:chgData name="Krishna Sharma" userId="daa697d5-8440-4694-9c7d-792884c08b9c" providerId="ADAL" clId="{3A17AF7F-858B-4AB1-A500-5ACF4155F568}" dt="2025-06-18T05:34:44.173" v="1116" actId="404"/>
          <ac:spMkLst>
            <pc:docMk/>
            <pc:sldMk cId="615437714" sldId="1475"/>
            <ac:spMk id="49" creationId="{C89A2236-D493-3808-1A3C-4078C9571747}"/>
          </ac:spMkLst>
        </pc:spChg>
        <pc:spChg chg="mod">
          <ac:chgData name="Krishna Sharma" userId="daa697d5-8440-4694-9c7d-792884c08b9c" providerId="ADAL" clId="{3A17AF7F-858B-4AB1-A500-5ACF4155F568}" dt="2025-06-18T05:48:12.102" v="1265" actId="2711"/>
          <ac:spMkLst>
            <pc:docMk/>
            <pc:sldMk cId="615437714" sldId="1475"/>
            <ac:spMk id="52" creationId="{07E2D2A3-E298-CAC2-96E4-A7D6C9A0BD8F}"/>
          </ac:spMkLst>
        </pc:spChg>
        <pc:spChg chg="mod">
          <ac:chgData name="Krishna Sharma" userId="daa697d5-8440-4694-9c7d-792884c08b9c" providerId="ADAL" clId="{3A17AF7F-858B-4AB1-A500-5ACF4155F568}" dt="2025-06-18T05:48:12.102" v="1265" actId="2711"/>
          <ac:spMkLst>
            <pc:docMk/>
            <pc:sldMk cId="615437714" sldId="1475"/>
            <ac:spMk id="53" creationId="{DA850276-D398-24CB-D739-C269B86004C2}"/>
          </ac:spMkLst>
        </pc:spChg>
        <pc:spChg chg="mod">
          <ac:chgData name="Krishna Sharma" userId="daa697d5-8440-4694-9c7d-792884c08b9c" providerId="ADAL" clId="{3A17AF7F-858B-4AB1-A500-5ACF4155F568}" dt="2025-06-18T05:48:12.102" v="1265" actId="2711"/>
          <ac:spMkLst>
            <pc:docMk/>
            <pc:sldMk cId="615437714" sldId="1475"/>
            <ac:spMk id="55" creationId="{A73FD652-5B2F-A4D1-C55A-7832EF8CA772}"/>
          </ac:spMkLst>
        </pc:spChg>
        <pc:spChg chg="mod">
          <ac:chgData name="Krishna Sharma" userId="daa697d5-8440-4694-9c7d-792884c08b9c" providerId="ADAL" clId="{3A17AF7F-858B-4AB1-A500-5ACF4155F568}" dt="2025-06-18T05:48:12.102" v="1265" actId="2711"/>
          <ac:spMkLst>
            <pc:docMk/>
            <pc:sldMk cId="615437714" sldId="1475"/>
            <ac:spMk id="56" creationId="{E8639EED-DD20-111B-2F1B-2D03BB92CB9F}"/>
          </ac:spMkLst>
        </pc:spChg>
        <pc:spChg chg="mod">
          <ac:chgData name="Krishna Sharma" userId="daa697d5-8440-4694-9c7d-792884c08b9c" providerId="ADAL" clId="{3A17AF7F-858B-4AB1-A500-5ACF4155F568}" dt="2025-06-18T05:48:12.102" v="1265" actId="2711"/>
          <ac:spMkLst>
            <pc:docMk/>
            <pc:sldMk cId="615437714" sldId="1475"/>
            <ac:spMk id="57" creationId="{BB3D0916-06A1-C3DB-8A4D-2B6BA986285B}"/>
          </ac:spMkLst>
        </pc:spChg>
        <pc:spChg chg="mod">
          <ac:chgData name="Krishna Sharma" userId="daa697d5-8440-4694-9c7d-792884c08b9c" providerId="ADAL" clId="{3A17AF7F-858B-4AB1-A500-5ACF4155F568}" dt="2025-06-18T05:48:12.102" v="1265" actId="2711"/>
          <ac:spMkLst>
            <pc:docMk/>
            <pc:sldMk cId="615437714" sldId="1475"/>
            <ac:spMk id="58" creationId="{508AEF6C-EF33-0D9E-F96B-80543D95F0C3}"/>
          </ac:spMkLst>
        </pc:spChg>
        <pc:spChg chg="mod">
          <ac:chgData name="Krishna Sharma" userId="daa697d5-8440-4694-9c7d-792884c08b9c" providerId="ADAL" clId="{3A17AF7F-858B-4AB1-A500-5ACF4155F568}" dt="2025-06-18T05:34:56.194" v="1119" actId="404"/>
          <ac:spMkLst>
            <pc:docMk/>
            <pc:sldMk cId="615437714" sldId="1475"/>
            <ac:spMk id="59" creationId="{BC78EEE3-5BA1-EA78-EA88-32F7878BFBB1}"/>
          </ac:spMkLst>
        </pc:spChg>
        <pc:spChg chg="mod">
          <ac:chgData name="Krishna Sharma" userId="daa697d5-8440-4694-9c7d-792884c08b9c" providerId="ADAL" clId="{3A17AF7F-858B-4AB1-A500-5ACF4155F568}" dt="2025-06-18T05:34:37.567" v="1115" actId="1076"/>
          <ac:spMkLst>
            <pc:docMk/>
            <pc:sldMk cId="615437714" sldId="1475"/>
            <ac:spMk id="61" creationId="{DD564557-F210-E792-4C63-04E389FD0B2D}"/>
          </ac:spMkLst>
        </pc:spChg>
        <pc:spChg chg="mod">
          <ac:chgData name="Krishna Sharma" userId="daa697d5-8440-4694-9c7d-792884c08b9c" providerId="ADAL" clId="{3A17AF7F-858B-4AB1-A500-5ACF4155F568}" dt="2025-06-18T05:48:12.102" v="1265" actId="2711"/>
          <ac:spMkLst>
            <pc:docMk/>
            <pc:sldMk cId="615437714" sldId="1475"/>
            <ac:spMk id="62" creationId="{9C1EC332-21F5-7125-22F2-535F01F18CBD}"/>
          </ac:spMkLst>
        </pc:spChg>
        <pc:spChg chg="mod">
          <ac:chgData name="Krishna Sharma" userId="daa697d5-8440-4694-9c7d-792884c08b9c" providerId="ADAL" clId="{3A17AF7F-858B-4AB1-A500-5ACF4155F568}" dt="2025-06-18T05:48:12.102" v="1265" actId="2711"/>
          <ac:spMkLst>
            <pc:docMk/>
            <pc:sldMk cId="615437714" sldId="1475"/>
            <ac:spMk id="63" creationId="{C16382A9-2904-FAC0-3853-1049CBC59F72}"/>
          </ac:spMkLst>
        </pc:spChg>
        <pc:grpChg chg="mod">
          <ac:chgData name="Krishna Sharma" userId="daa697d5-8440-4694-9c7d-792884c08b9c" providerId="ADAL" clId="{3A17AF7F-858B-4AB1-A500-5ACF4155F568}" dt="2025-06-18T05:34:35.663" v="1113" actId="1076"/>
          <ac:grpSpMkLst>
            <pc:docMk/>
            <pc:sldMk cId="615437714" sldId="1475"/>
            <ac:grpSpMk id="3" creationId="{3726762A-FD76-E7FD-C72E-2AAC5DD750B5}"/>
          </ac:grpSpMkLst>
        </pc:grpChg>
        <pc:grpChg chg="mod">
          <ac:chgData name="Krishna Sharma" userId="daa697d5-8440-4694-9c7d-792884c08b9c" providerId="ADAL" clId="{3A17AF7F-858B-4AB1-A500-5ACF4155F568}" dt="2025-06-18T05:34:35.663" v="1113" actId="1076"/>
          <ac:grpSpMkLst>
            <pc:docMk/>
            <pc:sldMk cId="615437714" sldId="1475"/>
            <ac:grpSpMk id="5" creationId="{8E785457-4793-898D-96CF-8B3347D88751}"/>
          </ac:grpSpMkLst>
        </pc:grpChg>
        <pc:grpChg chg="mod">
          <ac:chgData name="Krishna Sharma" userId="daa697d5-8440-4694-9c7d-792884c08b9c" providerId="ADAL" clId="{3A17AF7F-858B-4AB1-A500-5ACF4155F568}" dt="2025-06-18T05:33:36.788" v="1108" actId="1076"/>
          <ac:grpSpMkLst>
            <pc:docMk/>
            <pc:sldMk cId="615437714" sldId="1475"/>
            <ac:grpSpMk id="6" creationId="{8B29739C-F2F5-C858-61E2-7411C4A9D1A5}"/>
          </ac:grpSpMkLst>
        </pc:grpChg>
        <pc:picChg chg="add del mod">
          <ac:chgData name="Krishna Sharma" userId="daa697d5-8440-4694-9c7d-792884c08b9c" providerId="ADAL" clId="{3A17AF7F-858B-4AB1-A500-5ACF4155F568}" dt="2025-06-18T04:33:07.350" v="1069" actId="478"/>
          <ac:picMkLst>
            <pc:docMk/>
            <pc:sldMk cId="615437714" sldId="1475"/>
            <ac:picMk id="11" creationId="{065C4659-75F5-82DB-F716-F91689A89937}"/>
          </ac:picMkLst>
        </pc:picChg>
        <pc:picChg chg="add del mod">
          <ac:chgData name="Krishna Sharma" userId="daa697d5-8440-4694-9c7d-792884c08b9c" providerId="ADAL" clId="{3A17AF7F-858B-4AB1-A500-5ACF4155F568}" dt="2025-06-18T05:39:33.865" v="1131" actId="478"/>
          <ac:picMkLst>
            <pc:docMk/>
            <pc:sldMk cId="615437714" sldId="1475"/>
            <ac:picMk id="13" creationId="{3B3E1C73-CFF9-30CA-C808-F3ED7977907F}"/>
          </ac:picMkLst>
        </pc:picChg>
        <pc:picChg chg="add del mod">
          <ac:chgData name="Krishna Sharma" userId="daa697d5-8440-4694-9c7d-792884c08b9c" providerId="ADAL" clId="{3A17AF7F-858B-4AB1-A500-5ACF4155F568}" dt="2025-06-18T05:40:51.537" v="1138" actId="478"/>
          <ac:picMkLst>
            <pc:docMk/>
            <pc:sldMk cId="615437714" sldId="1475"/>
            <ac:picMk id="15" creationId="{44ED9347-27F5-1851-C346-F01D0C18B65D}"/>
          </ac:picMkLst>
        </pc:picChg>
        <pc:picChg chg="add mod">
          <ac:chgData name="Krishna Sharma" userId="daa697d5-8440-4694-9c7d-792884c08b9c" providerId="ADAL" clId="{3A17AF7F-858B-4AB1-A500-5ACF4155F568}" dt="2025-06-18T05:33:46.694" v="1109" actId="1076"/>
          <ac:picMkLst>
            <pc:docMk/>
            <pc:sldMk cId="615437714" sldId="1475"/>
            <ac:picMk id="17" creationId="{0FC46A64-D22A-2A11-0A9A-27B1E6323C1E}"/>
          </ac:picMkLst>
        </pc:picChg>
        <pc:picChg chg="add mod">
          <ac:chgData name="Krishna Sharma" userId="daa697d5-8440-4694-9c7d-792884c08b9c" providerId="ADAL" clId="{3A17AF7F-858B-4AB1-A500-5ACF4155F568}" dt="2025-06-18T05:37:51.820" v="1130" actId="1076"/>
          <ac:picMkLst>
            <pc:docMk/>
            <pc:sldMk cId="615437714" sldId="1475"/>
            <ac:picMk id="19" creationId="{0C26BCC5-A604-205B-CE6E-2D0B1E354EDE}"/>
          </ac:picMkLst>
        </pc:picChg>
        <pc:picChg chg="add mod">
          <ac:chgData name="Krishna Sharma" userId="daa697d5-8440-4694-9c7d-792884c08b9c" providerId="ADAL" clId="{3A17AF7F-858B-4AB1-A500-5ACF4155F568}" dt="2025-06-18T05:45:05.001" v="1236"/>
          <ac:picMkLst>
            <pc:docMk/>
            <pc:sldMk cId="615437714" sldId="1475"/>
            <ac:picMk id="21" creationId="{37295998-7BBF-B53B-1D61-0119C8106DAD}"/>
          </ac:picMkLst>
        </pc:picChg>
        <pc:picChg chg="add del mod">
          <ac:chgData name="Krishna Sharma" userId="daa697d5-8440-4694-9c7d-792884c08b9c" providerId="ADAL" clId="{3A17AF7F-858B-4AB1-A500-5ACF4155F568}" dt="2025-06-18T05:41:10.523" v="1140" actId="478"/>
          <ac:picMkLst>
            <pc:docMk/>
            <pc:sldMk cId="615437714" sldId="1475"/>
            <ac:picMk id="22" creationId="{27289195-166C-BF99-9EA6-F925EC503A63}"/>
          </ac:picMkLst>
        </pc:picChg>
        <pc:picChg chg="add del mod">
          <ac:chgData name="Krishna Sharma" userId="daa697d5-8440-4694-9c7d-792884c08b9c" providerId="ADAL" clId="{3A17AF7F-858B-4AB1-A500-5ACF4155F568}" dt="2025-06-18T05:44:35.661" v="1229" actId="478"/>
          <ac:picMkLst>
            <pc:docMk/>
            <pc:sldMk cId="615437714" sldId="1475"/>
            <ac:picMk id="23" creationId="{26CBC535-DF83-58AB-89B6-97DBAC6A3806}"/>
          </ac:picMkLst>
        </pc:picChg>
        <pc:picChg chg="add del mod">
          <ac:chgData name="Krishna Sharma" userId="daa697d5-8440-4694-9c7d-792884c08b9c" providerId="ADAL" clId="{3A17AF7F-858B-4AB1-A500-5ACF4155F568}" dt="2025-06-18T05:45:37.862" v="1238" actId="478"/>
          <ac:picMkLst>
            <pc:docMk/>
            <pc:sldMk cId="615437714" sldId="1475"/>
            <ac:picMk id="24" creationId="{40022EFD-7339-96FD-540D-5AC28E27B869}"/>
          </ac:picMkLst>
        </pc:picChg>
        <pc:picChg chg="add del">
          <ac:chgData name="Krishna Sharma" userId="daa697d5-8440-4694-9c7d-792884c08b9c" providerId="ADAL" clId="{3A17AF7F-858B-4AB1-A500-5ACF4155F568}" dt="2025-06-18T05:45:37.862" v="1238" actId="478"/>
          <ac:picMkLst>
            <pc:docMk/>
            <pc:sldMk cId="615437714" sldId="1475"/>
            <ac:picMk id="25" creationId="{357C9919-3F72-CF6C-4524-1C724CDDF0A2}"/>
          </ac:picMkLst>
        </pc:picChg>
        <pc:picChg chg="add mod">
          <ac:chgData name="Krishna Sharma" userId="daa697d5-8440-4694-9c7d-792884c08b9c" providerId="ADAL" clId="{3A17AF7F-858B-4AB1-A500-5ACF4155F568}" dt="2025-06-18T05:45:51.413" v="1241" actId="1076"/>
          <ac:picMkLst>
            <pc:docMk/>
            <pc:sldMk cId="615437714" sldId="1475"/>
            <ac:picMk id="26" creationId="{72A5598A-AFED-A938-70F4-00175FA66DF7}"/>
          </ac:picMkLst>
        </pc:picChg>
        <pc:picChg chg="add del mod">
          <ac:chgData name="Krishna Sharma" userId="daa697d5-8440-4694-9c7d-792884c08b9c" providerId="ADAL" clId="{3A17AF7F-858B-4AB1-A500-5ACF4155F568}" dt="2025-06-18T04:31:59.855" v="1066" actId="478"/>
          <ac:picMkLst>
            <pc:docMk/>
            <pc:sldMk cId="615437714" sldId="1475"/>
            <ac:picMk id="1026" creationId="{543C5F55-8758-AF43-4FB1-873B788F9B0B}"/>
          </ac:picMkLst>
        </pc:picChg>
      </pc:sldChg>
      <pc:sldChg chg="addSp delSp modSp mod">
        <pc:chgData name="Krishna Sharma" userId="daa697d5-8440-4694-9c7d-792884c08b9c" providerId="ADAL" clId="{3A17AF7F-858B-4AB1-A500-5ACF4155F568}" dt="2025-06-19T06:38:55.210" v="2148" actId="18131"/>
        <pc:sldMkLst>
          <pc:docMk/>
          <pc:sldMk cId="662215785" sldId="1477"/>
        </pc:sldMkLst>
        <pc:spChg chg="mod">
          <ac:chgData name="Krishna Sharma" userId="daa697d5-8440-4694-9c7d-792884c08b9c" providerId="ADAL" clId="{3A17AF7F-858B-4AB1-A500-5ACF4155F568}" dt="2025-06-17T11:43:12.831" v="1056" actId="2711"/>
          <ac:spMkLst>
            <pc:docMk/>
            <pc:sldMk cId="662215785" sldId="1477"/>
            <ac:spMk id="2" creationId="{3E543FB7-DDA2-14B7-9BAA-CFA113274770}"/>
          </ac:spMkLst>
        </pc:spChg>
        <pc:spChg chg="mod">
          <ac:chgData name="Krishna Sharma" userId="daa697d5-8440-4694-9c7d-792884c08b9c" providerId="ADAL" clId="{3A17AF7F-858B-4AB1-A500-5ACF4155F568}" dt="2025-06-17T11:43:12.831" v="1056" actId="2711"/>
          <ac:spMkLst>
            <pc:docMk/>
            <pc:sldMk cId="662215785" sldId="1477"/>
            <ac:spMk id="3" creationId="{7A9D3641-CD33-EB7D-6B54-E22439AB7B25}"/>
          </ac:spMkLst>
        </pc:spChg>
        <pc:spChg chg="mod">
          <ac:chgData name="Krishna Sharma" userId="daa697d5-8440-4694-9c7d-792884c08b9c" providerId="ADAL" clId="{3A17AF7F-858B-4AB1-A500-5ACF4155F568}" dt="2025-06-17T11:43:12.831" v="1056" actId="2711"/>
          <ac:spMkLst>
            <pc:docMk/>
            <pc:sldMk cId="662215785" sldId="1477"/>
            <ac:spMk id="4" creationId="{33361BCD-B96C-E39B-2F70-70F4B0A4787B}"/>
          </ac:spMkLst>
        </pc:spChg>
        <pc:spChg chg="add del mod">
          <ac:chgData name="Krishna Sharma" userId="daa697d5-8440-4694-9c7d-792884c08b9c" providerId="ADAL" clId="{3A17AF7F-858B-4AB1-A500-5ACF4155F568}" dt="2025-06-18T04:52:37.916" v="1095" actId="931"/>
          <ac:spMkLst>
            <pc:docMk/>
            <pc:sldMk cId="662215785" sldId="1477"/>
            <ac:spMk id="6" creationId="{05D49D15-C6F4-256E-B11D-74CFAB18D8A1}"/>
          </ac:spMkLst>
        </pc:spChg>
        <pc:spChg chg="mod">
          <ac:chgData name="Krishna Sharma" userId="daa697d5-8440-4694-9c7d-792884c08b9c" providerId="ADAL" clId="{3A17AF7F-858B-4AB1-A500-5ACF4155F568}" dt="2025-06-17T11:43:12.831" v="1056" actId="2711"/>
          <ac:spMkLst>
            <pc:docMk/>
            <pc:sldMk cId="662215785" sldId="1477"/>
            <ac:spMk id="7" creationId="{CE2E9D52-5B18-24F5-387A-7D99D6BB1617}"/>
          </ac:spMkLst>
        </pc:spChg>
        <pc:spChg chg="mod">
          <ac:chgData name="Krishna Sharma" userId="daa697d5-8440-4694-9c7d-792884c08b9c" providerId="ADAL" clId="{3A17AF7F-858B-4AB1-A500-5ACF4155F568}" dt="2025-06-17T11:43:12.831" v="1056" actId="2711"/>
          <ac:spMkLst>
            <pc:docMk/>
            <pc:sldMk cId="662215785" sldId="1477"/>
            <ac:spMk id="8" creationId="{0A108979-5D82-4693-FE54-65F3D9EAD2CF}"/>
          </ac:spMkLst>
        </pc:spChg>
        <pc:spChg chg="del">
          <ac:chgData name="Krishna Sharma" userId="daa697d5-8440-4694-9c7d-792884c08b9c" providerId="ADAL" clId="{3A17AF7F-858B-4AB1-A500-5ACF4155F568}" dt="2025-06-18T05:06:44.770" v="1098" actId="931"/>
          <ac:spMkLst>
            <pc:docMk/>
            <pc:sldMk cId="662215785" sldId="1477"/>
            <ac:spMk id="11" creationId="{F2DD235E-6AB1-8BC1-0E06-2BCA5A56DEC8}"/>
          </ac:spMkLst>
        </pc:spChg>
        <pc:spChg chg="mod">
          <ac:chgData name="Krishna Sharma" userId="daa697d5-8440-4694-9c7d-792884c08b9c" providerId="ADAL" clId="{3A17AF7F-858B-4AB1-A500-5ACF4155F568}" dt="2025-06-17T11:43:12.831" v="1056" actId="2711"/>
          <ac:spMkLst>
            <pc:docMk/>
            <pc:sldMk cId="662215785" sldId="1477"/>
            <ac:spMk id="31" creationId="{3E7F52A1-B0C8-2DAF-D6A6-A1C0B7F37A61}"/>
          </ac:spMkLst>
        </pc:spChg>
        <pc:spChg chg="mod">
          <ac:chgData name="Krishna Sharma" userId="daa697d5-8440-4694-9c7d-792884c08b9c" providerId="ADAL" clId="{3A17AF7F-858B-4AB1-A500-5ACF4155F568}" dt="2025-06-17T11:43:12.831" v="1056" actId="2711"/>
          <ac:spMkLst>
            <pc:docMk/>
            <pc:sldMk cId="662215785" sldId="1477"/>
            <ac:spMk id="32" creationId="{8F4F78E0-3350-D0D7-764C-EDE91B8EE0E9}"/>
          </ac:spMkLst>
        </pc:spChg>
        <pc:spChg chg="mod">
          <ac:chgData name="Krishna Sharma" userId="daa697d5-8440-4694-9c7d-792884c08b9c" providerId="ADAL" clId="{3A17AF7F-858B-4AB1-A500-5ACF4155F568}" dt="2025-06-17T11:43:12.831" v="1056" actId="2711"/>
          <ac:spMkLst>
            <pc:docMk/>
            <pc:sldMk cId="662215785" sldId="1477"/>
            <ac:spMk id="34" creationId="{61A0EA8B-D98C-EBC2-61F5-45CD3B1FBF05}"/>
          </ac:spMkLst>
        </pc:spChg>
        <pc:spChg chg="mod">
          <ac:chgData name="Krishna Sharma" userId="daa697d5-8440-4694-9c7d-792884c08b9c" providerId="ADAL" clId="{3A17AF7F-858B-4AB1-A500-5ACF4155F568}" dt="2025-06-17T11:43:12.831" v="1056" actId="2711"/>
          <ac:spMkLst>
            <pc:docMk/>
            <pc:sldMk cId="662215785" sldId="1477"/>
            <ac:spMk id="36" creationId="{CBD526EB-A826-9840-69DD-FC4357C17CD0}"/>
          </ac:spMkLst>
        </pc:spChg>
        <pc:picChg chg="add mod modCrop">
          <ac:chgData name="Krishna Sharma" userId="daa697d5-8440-4694-9c7d-792884c08b9c" providerId="ADAL" clId="{3A17AF7F-858B-4AB1-A500-5ACF4155F568}" dt="2025-06-18T04:53:28.298" v="1097" actId="18131"/>
          <ac:picMkLst>
            <pc:docMk/>
            <pc:sldMk cId="662215785" sldId="1477"/>
            <ac:picMk id="9" creationId="{2F4B3023-BFEC-9BD4-90B3-60A59F796AAE}"/>
          </ac:picMkLst>
        </pc:picChg>
        <pc:picChg chg="add mod modCrop">
          <ac:chgData name="Krishna Sharma" userId="daa697d5-8440-4694-9c7d-792884c08b9c" providerId="ADAL" clId="{3A17AF7F-858B-4AB1-A500-5ACF4155F568}" dt="2025-06-19T06:38:55.210" v="2148" actId="18131"/>
          <ac:picMkLst>
            <pc:docMk/>
            <pc:sldMk cId="662215785" sldId="1477"/>
            <ac:picMk id="13" creationId="{E0643316-158F-BDC5-9864-9E232F78A3EA}"/>
          </ac:picMkLst>
        </pc:picChg>
      </pc:sldChg>
      <pc:sldChg chg="delSp modSp mod">
        <pc:chgData name="Krishna Sharma" userId="daa697d5-8440-4694-9c7d-792884c08b9c" providerId="ADAL" clId="{3A17AF7F-858B-4AB1-A500-5ACF4155F568}" dt="2025-06-18T04:13:02.277" v="1061" actId="14100"/>
        <pc:sldMkLst>
          <pc:docMk/>
          <pc:sldMk cId="3809681679" sldId="1478"/>
        </pc:sldMkLst>
        <pc:spChg chg="mod">
          <ac:chgData name="Krishna Sharma" userId="daa697d5-8440-4694-9c7d-792884c08b9c" providerId="ADAL" clId="{3A17AF7F-858B-4AB1-A500-5ACF4155F568}" dt="2025-06-17T11:43:56.680" v="1059" actId="2711"/>
          <ac:spMkLst>
            <pc:docMk/>
            <pc:sldMk cId="3809681679" sldId="1478"/>
            <ac:spMk id="2" creationId="{09B2505C-A355-EEA4-4D92-A07EA1A1D1B7}"/>
          </ac:spMkLst>
        </pc:spChg>
        <pc:spChg chg="mod">
          <ac:chgData name="Krishna Sharma" userId="daa697d5-8440-4694-9c7d-792884c08b9c" providerId="ADAL" clId="{3A17AF7F-858B-4AB1-A500-5ACF4155F568}" dt="2025-06-18T04:13:02.277" v="1061" actId="14100"/>
          <ac:spMkLst>
            <pc:docMk/>
            <pc:sldMk cId="3809681679" sldId="1478"/>
            <ac:spMk id="3" creationId="{6A411022-3705-3C1C-F2BB-D7F4FE2CD854}"/>
          </ac:spMkLst>
        </pc:spChg>
        <pc:spChg chg="mod">
          <ac:chgData name="Krishna Sharma" userId="daa697d5-8440-4694-9c7d-792884c08b9c" providerId="ADAL" clId="{3A17AF7F-858B-4AB1-A500-5ACF4155F568}" dt="2025-06-17T11:43:56.680" v="1059" actId="2711"/>
          <ac:spMkLst>
            <pc:docMk/>
            <pc:sldMk cId="3809681679" sldId="1478"/>
            <ac:spMk id="4" creationId="{F5B19B60-AEF1-FC0A-EA1E-F82F245907B9}"/>
          </ac:spMkLst>
        </pc:spChg>
        <pc:spChg chg="mod">
          <ac:chgData name="Krishna Sharma" userId="daa697d5-8440-4694-9c7d-792884c08b9c" providerId="ADAL" clId="{3A17AF7F-858B-4AB1-A500-5ACF4155F568}" dt="2025-06-17T11:43:56.680" v="1059" actId="2711"/>
          <ac:spMkLst>
            <pc:docMk/>
            <pc:sldMk cId="3809681679" sldId="1478"/>
            <ac:spMk id="7" creationId="{F7AC0EB3-8961-3B04-20F5-B4637D5B6F81}"/>
          </ac:spMkLst>
        </pc:spChg>
        <pc:spChg chg="mod">
          <ac:chgData name="Krishna Sharma" userId="daa697d5-8440-4694-9c7d-792884c08b9c" providerId="ADAL" clId="{3A17AF7F-858B-4AB1-A500-5ACF4155F568}" dt="2025-06-17T11:43:56.680" v="1059" actId="2711"/>
          <ac:spMkLst>
            <pc:docMk/>
            <pc:sldMk cId="3809681679" sldId="1478"/>
            <ac:spMk id="8" creationId="{06DC361C-3917-A953-9775-4D5870594D4A}"/>
          </ac:spMkLst>
        </pc:spChg>
      </pc:sldChg>
      <pc:sldChg chg="modSp mod">
        <pc:chgData name="Krishna Sharma" userId="daa697d5-8440-4694-9c7d-792884c08b9c" providerId="ADAL" clId="{3A17AF7F-858B-4AB1-A500-5ACF4155F568}" dt="2025-06-17T11:43:28.525" v="1057" actId="2711"/>
        <pc:sldMkLst>
          <pc:docMk/>
          <pc:sldMk cId="2015119999" sldId="1479"/>
        </pc:sldMkLst>
        <pc:spChg chg="mod">
          <ac:chgData name="Krishna Sharma" userId="daa697d5-8440-4694-9c7d-792884c08b9c" providerId="ADAL" clId="{3A17AF7F-858B-4AB1-A500-5ACF4155F568}" dt="2025-06-17T11:43:28.525" v="1057" actId="2711"/>
          <ac:spMkLst>
            <pc:docMk/>
            <pc:sldMk cId="2015119999" sldId="1479"/>
            <ac:spMk id="2" creationId="{BA7BCB71-916B-FC72-A2DD-D72F82770D0B}"/>
          </ac:spMkLst>
        </pc:spChg>
        <pc:spChg chg="mod">
          <ac:chgData name="Krishna Sharma" userId="daa697d5-8440-4694-9c7d-792884c08b9c" providerId="ADAL" clId="{3A17AF7F-858B-4AB1-A500-5ACF4155F568}" dt="2025-06-17T11:43:28.525" v="1057" actId="2711"/>
          <ac:spMkLst>
            <pc:docMk/>
            <pc:sldMk cId="2015119999" sldId="1479"/>
            <ac:spMk id="3" creationId="{7565DF4E-44A0-8990-7F6B-145F5B8315A0}"/>
          </ac:spMkLst>
        </pc:spChg>
        <pc:spChg chg="mod">
          <ac:chgData name="Krishna Sharma" userId="daa697d5-8440-4694-9c7d-792884c08b9c" providerId="ADAL" clId="{3A17AF7F-858B-4AB1-A500-5ACF4155F568}" dt="2025-06-17T11:43:28.525" v="1057" actId="2711"/>
          <ac:spMkLst>
            <pc:docMk/>
            <pc:sldMk cId="2015119999" sldId="1479"/>
            <ac:spMk id="4" creationId="{6E9EFC0A-7C9A-79A0-DBAB-134D8277D080}"/>
          </ac:spMkLst>
        </pc:spChg>
        <pc:spChg chg="mod">
          <ac:chgData name="Krishna Sharma" userId="daa697d5-8440-4694-9c7d-792884c08b9c" providerId="ADAL" clId="{3A17AF7F-858B-4AB1-A500-5ACF4155F568}" dt="2025-06-17T11:43:28.525" v="1057" actId="2711"/>
          <ac:spMkLst>
            <pc:docMk/>
            <pc:sldMk cId="2015119999" sldId="1479"/>
            <ac:spMk id="7" creationId="{6CD2948E-C78A-823C-E443-C732C763161B}"/>
          </ac:spMkLst>
        </pc:spChg>
        <pc:spChg chg="mod">
          <ac:chgData name="Krishna Sharma" userId="daa697d5-8440-4694-9c7d-792884c08b9c" providerId="ADAL" clId="{3A17AF7F-858B-4AB1-A500-5ACF4155F568}" dt="2025-06-17T11:43:28.525" v="1057" actId="2711"/>
          <ac:spMkLst>
            <pc:docMk/>
            <pc:sldMk cId="2015119999" sldId="1479"/>
            <ac:spMk id="8" creationId="{18320FBD-15B0-0B99-3C9E-6AD5804B4F95}"/>
          </ac:spMkLst>
        </pc:spChg>
      </pc:sldChg>
      <pc:sldChg chg="modSp mod">
        <pc:chgData name="Krishna Sharma" userId="daa697d5-8440-4694-9c7d-792884c08b9c" providerId="ADAL" clId="{3A17AF7F-858B-4AB1-A500-5ACF4155F568}" dt="2025-06-18T07:15:14.414" v="1578" actId="2711"/>
        <pc:sldMkLst>
          <pc:docMk/>
          <pc:sldMk cId="1844276349" sldId="1481"/>
        </pc:sldMkLst>
        <pc:spChg chg="mod">
          <ac:chgData name="Krishna Sharma" userId="daa697d5-8440-4694-9c7d-792884c08b9c" providerId="ADAL" clId="{3A17AF7F-858B-4AB1-A500-5ACF4155F568}" dt="2025-06-11T05:28:31.734" v="446"/>
          <ac:spMkLst>
            <pc:docMk/>
            <pc:sldMk cId="1844276349" sldId="1481"/>
            <ac:spMk id="13" creationId="{0E6C3ADF-3C38-95AE-FA9D-6512A63F2E8C}"/>
          </ac:spMkLst>
        </pc:spChg>
        <pc:spChg chg="mod">
          <ac:chgData name="Krishna Sharma" userId="daa697d5-8440-4694-9c7d-792884c08b9c" providerId="ADAL" clId="{3A17AF7F-858B-4AB1-A500-5ACF4155F568}" dt="2025-06-18T07:15:14.414" v="1578" actId="2711"/>
          <ac:spMkLst>
            <pc:docMk/>
            <pc:sldMk cId="1844276349" sldId="1481"/>
            <ac:spMk id="21" creationId="{DDA2E5BB-040D-EAF9-5E2F-58E2924D81EC}"/>
          </ac:spMkLst>
        </pc:spChg>
        <pc:spChg chg="mod">
          <ac:chgData name="Krishna Sharma" userId="daa697d5-8440-4694-9c7d-792884c08b9c" providerId="ADAL" clId="{3A17AF7F-858B-4AB1-A500-5ACF4155F568}" dt="2025-06-11T05:28:31.734" v="446"/>
          <ac:spMkLst>
            <pc:docMk/>
            <pc:sldMk cId="1844276349" sldId="1481"/>
            <ac:spMk id="40" creationId="{0B0A3EBE-BBB2-4DFE-EE74-AA40AE85F129}"/>
          </ac:spMkLst>
        </pc:spChg>
        <pc:spChg chg="mod">
          <ac:chgData name="Krishna Sharma" userId="daa697d5-8440-4694-9c7d-792884c08b9c" providerId="ADAL" clId="{3A17AF7F-858B-4AB1-A500-5ACF4155F568}" dt="2025-06-11T05:28:31.734" v="446"/>
          <ac:spMkLst>
            <pc:docMk/>
            <pc:sldMk cId="1844276349" sldId="1481"/>
            <ac:spMk id="64" creationId="{3B125426-F6D5-A5C3-9B83-DA1DE1B62C61}"/>
          </ac:spMkLst>
        </pc:spChg>
        <pc:spChg chg="mod">
          <ac:chgData name="Krishna Sharma" userId="daa697d5-8440-4694-9c7d-792884c08b9c" providerId="ADAL" clId="{3A17AF7F-858B-4AB1-A500-5ACF4155F568}" dt="2025-06-11T05:28:31.734" v="446"/>
          <ac:spMkLst>
            <pc:docMk/>
            <pc:sldMk cId="1844276349" sldId="1481"/>
            <ac:spMk id="72" creationId="{D6DF6F47-D665-B112-C9CC-4CBA058E8151}"/>
          </ac:spMkLst>
        </pc:spChg>
        <pc:spChg chg="mod">
          <ac:chgData name="Krishna Sharma" userId="daa697d5-8440-4694-9c7d-792884c08b9c" providerId="ADAL" clId="{3A17AF7F-858B-4AB1-A500-5ACF4155F568}" dt="2025-06-18T07:15:14.414" v="1578" actId="2711"/>
          <ac:spMkLst>
            <pc:docMk/>
            <pc:sldMk cId="1844276349" sldId="1481"/>
            <ac:spMk id="79" creationId="{E160F7DB-67A1-FA28-0599-A4800F73F128}"/>
          </ac:spMkLst>
        </pc:spChg>
        <pc:spChg chg="mod">
          <ac:chgData name="Krishna Sharma" userId="daa697d5-8440-4694-9c7d-792884c08b9c" providerId="ADAL" clId="{3A17AF7F-858B-4AB1-A500-5ACF4155F568}" dt="2025-06-18T07:15:14.414" v="1578" actId="2711"/>
          <ac:spMkLst>
            <pc:docMk/>
            <pc:sldMk cId="1844276349" sldId="1481"/>
            <ac:spMk id="80" creationId="{9C9BAF79-12A0-8B1D-5556-E7344D72F790}"/>
          </ac:spMkLst>
        </pc:spChg>
        <pc:spChg chg="mod">
          <ac:chgData name="Krishna Sharma" userId="daa697d5-8440-4694-9c7d-792884c08b9c" providerId="ADAL" clId="{3A17AF7F-858B-4AB1-A500-5ACF4155F568}" dt="2025-06-18T07:15:14.414" v="1578" actId="2711"/>
          <ac:spMkLst>
            <pc:docMk/>
            <pc:sldMk cId="1844276349" sldId="1481"/>
            <ac:spMk id="90" creationId="{7D3A2206-6C32-41D2-0294-57B20BBDBE24}"/>
          </ac:spMkLst>
        </pc:spChg>
        <pc:spChg chg="mod">
          <ac:chgData name="Krishna Sharma" userId="daa697d5-8440-4694-9c7d-792884c08b9c" providerId="ADAL" clId="{3A17AF7F-858B-4AB1-A500-5ACF4155F568}" dt="2025-06-18T07:15:14.414" v="1578" actId="2711"/>
          <ac:spMkLst>
            <pc:docMk/>
            <pc:sldMk cId="1844276349" sldId="1481"/>
            <ac:spMk id="101" creationId="{60A80505-C862-33A6-FA80-9AC6C2F0F488}"/>
          </ac:spMkLst>
        </pc:spChg>
        <pc:spChg chg="mod">
          <ac:chgData name="Krishna Sharma" userId="daa697d5-8440-4694-9c7d-792884c08b9c" providerId="ADAL" clId="{3A17AF7F-858B-4AB1-A500-5ACF4155F568}" dt="2025-06-18T07:15:14.414" v="1578" actId="2711"/>
          <ac:spMkLst>
            <pc:docMk/>
            <pc:sldMk cId="1844276349" sldId="1481"/>
            <ac:spMk id="105" creationId="{84D0F0BE-3B06-5E2D-EA09-486594078DCD}"/>
          </ac:spMkLst>
        </pc:spChg>
        <pc:spChg chg="mod">
          <ac:chgData name="Krishna Sharma" userId="daa697d5-8440-4694-9c7d-792884c08b9c" providerId="ADAL" clId="{3A17AF7F-858B-4AB1-A500-5ACF4155F568}" dt="2025-06-11T05:28:31.734" v="446"/>
          <ac:spMkLst>
            <pc:docMk/>
            <pc:sldMk cId="1844276349" sldId="1481"/>
            <ac:spMk id="110" creationId="{1A02449D-A0FC-8274-A67D-ADA0E2AF8A58}"/>
          </ac:spMkLst>
        </pc:spChg>
        <pc:spChg chg="mod">
          <ac:chgData name="Krishna Sharma" userId="daa697d5-8440-4694-9c7d-792884c08b9c" providerId="ADAL" clId="{3A17AF7F-858B-4AB1-A500-5ACF4155F568}" dt="2025-06-11T05:28:31.734" v="446"/>
          <ac:spMkLst>
            <pc:docMk/>
            <pc:sldMk cId="1844276349" sldId="1481"/>
            <ac:spMk id="113" creationId="{197A9BFC-4CC4-1E31-E120-564D4D7BA1DB}"/>
          </ac:spMkLst>
        </pc:spChg>
        <pc:spChg chg="mod">
          <ac:chgData name="Krishna Sharma" userId="daa697d5-8440-4694-9c7d-792884c08b9c" providerId="ADAL" clId="{3A17AF7F-858B-4AB1-A500-5ACF4155F568}" dt="2025-06-11T05:28:31.734" v="446"/>
          <ac:spMkLst>
            <pc:docMk/>
            <pc:sldMk cId="1844276349" sldId="1481"/>
            <ac:spMk id="114" creationId="{4406044C-907A-3339-D719-8D11CAE7DE77}"/>
          </ac:spMkLst>
        </pc:spChg>
        <pc:spChg chg="mod">
          <ac:chgData name="Krishna Sharma" userId="daa697d5-8440-4694-9c7d-792884c08b9c" providerId="ADAL" clId="{3A17AF7F-858B-4AB1-A500-5ACF4155F568}" dt="2025-06-18T07:15:14.414" v="1578" actId="2711"/>
          <ac:spMkLst>
            <pc:docMk/>
            <pc:sldMk cId="1844276349" sldId="1481"/>
            <ac:spMk id="118" creationId="{E35C7E57-55FD-9EAF-79BF-9AEDBCC6D06B}"/>
          </ac:spMkLst>
        </pc:spChg>
        <pc:spChg chg="mod">
          <ac:chgData name="Krishna Sharma" userId="daa697d5-8440-4694-9c7d-792884c08b9c" providerId="ADAL" clId="{3A17AF7F-858B-4AB1-A500-5ACF4155F568}" dt="2025-06-18T07:15:14.414" v="1578" actId="2711"/>
          <ac:spMkLst>
            <pc:docMk/>
            <pc:sldMk cId="1844276349" sldId="1481"/>
            <ac:spMk id="122" creationId="{65B02C9D-0525-3CDF-06CE-23FC6BD19AEA}"/>
          </ac:spMkLst>
        </pc:spChg>
        <pc:spChg chg="mod">
          <ac:chgData name="Krishna Sharma" userId="daa697d5-8440-4694-9c7d-792884c08b9c" providerId="ADAL" clId="{3A17AF7F-858B-4AB1-A500-5ACF4155F568}" dt="2025-06-18T07:15:14.414" v="1578" actId="2711"/>
          <ac:spMkLst>
            <pc:docMk/>
            <pc:sldMk cId="1844276349" sldId="1481"/>
            <ac:spMk id="124" creationId="{997CEAAB-361A-9F1B-620B-D33C83173A74}"/>
          </ac:spMkLst>
        </pc:spChg>
        <pc:spChg chg="mod">
          <ac:chgData name="Krishna Sharma" userId="daa697d5-8440-4694-9c7d-792884c08b9c" providerId="ADAL" clId="{3A17AF7F-858B-4AB1-A500-5ACF4155F568}" dt="2025-06-18T07:15:14.414" v="1578" actId="2711"/>
          <ac:spMkLst>
            <pc:docMk/>
            <pc:sldMk cId="1844276349" sldId="1481"/>
            <ac:spMk id="132" creationId="{86CB064F-6E24-7423-30FA-1DA1330FE8E8}"/>
          </ac:spMkLst>
        </pc:spChg>
        <pc:spChg chg="mod">
          <ac:chgData name="Krishna Sharma" userId="daa697d5-8440-4694-9c7d-792884c08b9c" providerId="ADAL" clId="{3A17AF7F-858B-4AB1-A500-5ACF4155F568}" dt="2025-06-11T05:28:31.734" v="446"/>
          <ac:spMkLst>
            <pc:docMk/>
            <pc:sldMk cId="1844276349" sldId="1481"/>
            <ac:spMk id="135" creationId="{5E39B5BE-64BF-CBA9-A2FB-71C9E90ADA27}"/>
          </ac:spMkLst>
        </pc:spChg>
        <pc:spChg chg="mod">
          <ac:chgData name="Krishna Sharma" userId="daa697d5-8440-4694-9c7d-792884c08b9c" providerId="ADAL" clId="{3A17AF7F-858B-4AB1-A500-5ACF4155F568}" dt="2025-06-11T05:28:31.734" v="446"/>
          <ac:spMkLst>
            <pc:docMk/>
            <pc:sldMk cId="1844276349" sldId="1481"/>
            <ac:spMk id="136" creationId="{92E1B6AF-9815-BB76-F73E-68ABFB03A6A2}"/>
          </ac:spMkLst>
        </pc:spChg>
        <pc:spChg chg="mod">
          <ac:chgData name="Krishna Sharma" userId="daa697d5-8440-4694-9c7d-792884c08b9c" providerId="ADAL" clId="{3A17AF7F-858B-4AB1-A500-5ACF4155F568}" dt="2025-06-11T05:28:31.734" v="446"/>
          <ac:spMkLst>
            <pc:docMk/>
            <pc:sldMk cId="1844276349" sldId="1481"/>
            <ac:spMk id="137" creationId="{9BBEB096-B8EA-5A4B-D690-FF60C295940F}"/>
          </ac:spMkLst>
        </pc:spChg>
        <pc:spChg chg="mod">
          <ac:chgData name="Krishna Sharma" userId="daa697d5-8440-4694-9c7d-792884c08b9c" providerId="ADAL" clId="{3A17AF7F-858B-4AB1-A500-5ACF4155F568}" dt="2025-06-11T05:28:43.413" v="463" actId="20577"/>
          <ac:spMkLst>
            <pc:docMk/>
            <pc:sldMk cId="1844276349" sldId="1481"/>
            <ac:spMk id="144" creationId="{72DD77C6-A7A3-5ADC-FEA1-C5E620CFB3B9}"/>
          </ac:spMkLst>
        </pc:spChg>
      </pc:sldChg>
      <pc:sldChg chg="modSp mod">
        <pc:chgData name="Krishna Sharma" userId="daa697d5-8440-4694-9c7d-792884c08b9c" providerId="ADAL" clId="{3A17AF7F-858B-4AB1-A500-5ACF4155F568}" dt="2025-06-18T05:48:04.485" v="1264" actId="2711"/>
        <pc:sldMkLst>
          <pc:docMk/>
          <pc:sldMk cId="4159238697" sldId="1482"/>
        </pc:sldMkLst>
        <pc:spChg chg="mod">
          <ac:chgData name="Krishna Sharma" userId="daa697d5-8440-4694-9c7d-792884c08b9c" providerId="ADAL" clId="{3A17AF7F-858B-4AB1-A500-5ACF4155F568}" dt="2025-06-18T05:48:04.485" v="1264" actId="2711"/>
          <ac:spMkLst>
            <pc:docMk/>
            <pc:sldMk cId="4159238697" sldId="1482"/>
            <ac:spMk id="2" creationId="{0A7595C0-18F1-2D9B-89EA-77834E71F886}"/>
          </ac:spMkLst>
        </pc:spChg>
        <pc:spChg chg="mod">
          <ac:chgData name="Krishna Sharma" userId="daa697d5-8440-4694-9c7d-792884c08b9c" providerId="ADAL" clId="{3A17AF7F-858B-4AB1-A500-5ACF4155F568}" dt="2025-06-18T05:48:04.485" v="1264" actId="2711"/>
          <ac:spMkLst>
            <pc:docMk/>
            <pc:sldMk cId="4159238697" sldId="1482"/>
            <ac:spMk id="7" creationId="{1D65F1E6-FD00-F69A-93B0-24ABC718B2D4}"/>
          </ac:spMkLst>
        </pc:spChg>
        <pc:spChg chg="mod">
          <ac:chgData name="Krishna Sharma" userId="daa697d5-8440-4694-9c7d-792884c08b9c" providerId="ADAL" clId="{3A17AF7F-858B-4AB1-A500-5ACF4155F568}" dt="2025-06-18T05:48:04.485" v="1264" actId="2711"/>
          <ac:spMkLst>
            <pc:docMk/>
            <pc:sldMk cId="4159238697" sldId="1482"/>
            <ac:spMk id="8" creationId="{94D93CDC-75F4-ADFA-8C83-45D7D053B4D7}"/>
          </ac:spMkLst>
        </pc:spChg>
        <pc:spChg chg="mod">
          <ac:chgData name="Krishna Sharma" userId="daa697d5-8440-4694-9c7d-792884c08b9c" providerId="ADAL" clId="{3A17AF7F-858B-4AB1-A500-5ACF4155F568}" dt="2025-06-18T05:48:04.485" v="1264" actId="2711"/>
          <ac:spMkLst>
            <pc:docMk/>
            <pc:sldMk cId="4159238697" sldId="1482"/>
            <ac:spMk id="11" creationId="{F506B7E0-79AE-2D1F-742B-141EFB66DB1C}"/>
          </ac:spMkLst>
        </pc:spChg>
      </pc:sldChg>
      <pc:sldChg chg="addSp delSp modSp mod">
        <pc:chgData name="Krishna Sharma" userId="daa697d5-8440-4694-9c7d-792884c08b9c" providerId="ADAL" clId="{3A17AF7F-858B-4AB1-A500-5ACF4155F568}" dt="2025-06-18T05:55:05.472" v="1271" actId="1076"/>
        <pc:sldMkLst>
          <pc:docMk/>
          <pc:sldMk cId="881074547" sldId="1483"/>
        </pc:sldMkLst>
        <pc:spChg chg="mod">
          <ac:chgData name="Krishna Sharma" userId="daa697d5-8440-4694-9c7d-792884c08b9c" providerId="ADAL" clId="{3A17AF7F-858B-4AB1-A500-5ACF4155F568}" dt="2025-06-18T05:53:52.512" v="1266" actId="2711"/>
          <ac:spMkLst>
            <pc:docMk/>
            <pc:sldMk cId="881074547" sldId="1483"/>
            <ac:spMk id="2" creationId="{AAC1CECF-8F08-D075-838A-BA6A3C5AD9CF}"/>
          </ac:spMkLst>
        </pc:spChg>
        <pc:spChg chg="mod">
          <ac:chgData name="Krishna Sharma" userId="daa697d5-8440-4694-9c7d-792884c08b9c" providerId="ADAL" clId="{3A17AF7F-858B-4AB1-A500-5ACF4155F568}" dt="2025-06-18T05:53:52.512" v="1266" actId="2711"/>
          <ac:spMkLst>
            <pc:docMk/>
            <pc:sldMk cId="881074547" sldId="1483"/>
            <ac:spMk id="7" creationId="{430B092F-0CA4-E099-963E-304078A18606}"/>
          </ac:spMkLst>
        </pc:spChg>
        <pc:spChg chg="mod">
          <ac:chgData name="Krishna Sharma" userId="daa697d5-8440-4694-9c7d-792884c08b9c" providerId="ADAL" clId="{3A17AF7F-858B-4AB1-A500-5ACF4155F568}" dt="2025-06-18T05:53:52.512" v="1266" actId="2711"/>
          <ac:spMkLst>
            <pc:docMk/>
            <pc:sldMk cId="881074547" sldId="1483"/>
            <ac:spMk id="8" creationId="{6D4DBB00-B590-FACE-C35C-6BA928310D2A}"/>
          </ac:spMkLst>
        </pc:spChg>
        <pc:spChg chg="mod">
          <ac:chgData name="Krishna Sharma" userId="daa697d5-8440-4694-9c7d-792884c08b9c" providerId="ADAL" clId="{3A17AF7F-858B-4AB1-A500-5ACF4155F568}" dt="2025-06-18T05:53:52.512" v="1266" actId="2711"/>
          <ac:spMkLst>
            <pc:docMk/>
            <pc:sldMk cId="881074547" sldId="1483"/>
            <ac:spMk id="9" creationId="{05C1C0F5-7F6A-18E0-A3F4-CBDA360447D1}"/>
          </ac:spMkLst>
        </pc:spChg>
        <pc:spChg chg="mod">
          <ac:chgData name="Krishna Sharma" userId="daa697d5-8440-4694-9c7d-792884c08b9c" providerId="ADAL" clId="{3A17AF7F-858B-4AB1-A500-5ACF4155F568}" dt="2025-06-18T05:53:52.512" v="1266" actId="2711"/>
          <ac:spMkLst>
            <pc:docMk/>
            <pc:sldMk cId="881074547" sldId="1483"/>
            <ac:spMk id="11" creationId="{BC77167C-7A80-25F3-DEE0-625DF3EAC016}"/>
          </ac:spMkLst>
        </pc:spChg>
        <pc:picChg chg="add mod">
          <ac:chgData name="Krishna Sharma" userId="daa697d5-8440-4694-9c7d-792884c08b9c" providerId="ADAL" clId="{3A17AF7F-858B-4AB1-A500-5ACF4155F568}" dt="2025-06-18T05:55:05.472" v="1271" actId="1076"/>
          <ac:picMkLst>
            <pc:docMk/>
            <pc:sldMk cId="881074547" sldId="1483"/>
            <ac:picMk id="3" creationId="{C52338EC-3282-51F5-B398-17328B096BDD}"/>
          </ac:picMkLst>
        </pc:picChg>
        <pc:picChg chg="del">
          <ac:chgData name="Krishna Sharma" userId="daa697d5-8440-4694-9c7d-792884c08b9c" providerId="ADAL" clId="{3A17AF7F-858B-4AB1-A500-5ACF4155F568}" dt="2025-06-18T05:53:55.141" v="1267" actId="478"/>
          <ac:picMkLst>
            <pc:docMk/>
            <pc:sldMk cId="881074547" sldId="1483"/>
            <ac:picMk id="12" creationId="{6F13A107-7639-9DFB-3BC8-C691245F2328}"/>
          </ac:picMkLst>
        </pc:picChg>
      </pc:sldChg>
      <pc:sldChg chg="addSp delSp modSp mod">
        <pc:chgData name="Krishna Sharma" userId="daa697d5-8440-4694-9c7d-792884c08b9c" providerId="ADAL" clId="{3A17AF7F-858B-4AB1-A500-5ACF4155F568}" dt="2025-06-18T07:05:19.094" v="1528" actId="1076"/>
        <pc:sldMkLst>
          <pc:docMk/>
          <pc:sldMk cId="4081262848" sldId="1484"/>
        </pc:sldMkLst>
        <pc:spChg chg="mod">
          <ac:chgData name="Krishna Sharma" userId="daa697d5-8440-4694-9c7d-792884c08b9c" providerId="ADAL" clId="{3A17AF7F-858B-4AB1-A500-5ACF4155F568}" dt="2025-06-18T06:17:07.563" v="1306" actId="2711"/>
          <ac:spMkLst>
            <pc:docMk/>
            <pc:sldMk cId="4081262848" sldId="1484"/>
            <ac:spMk id="2" creationId="{B4AAD586-861F-7BD3-CF67-7D9ADFA7228F}"/>
          </ac:spMkLst>
        </pc:spChg>
        <pc:spChg chg="add mod">
          <ac:chgData name="Krishna Sharma" userId="daa697d5-8440-4694-9c7d-792884c08b9c" providerId="ADAL" clId="{3A17AF7F-858B-4AB1-A500-5ACF4155F568}" dt="2025-06-18T06:17:07.563" v="1306" actId="2711"/>
          <ac:spMkLst>
            <pc:docMk/>
            <pc:sldMk cId="4081262848" sldId="1484"/>
            <ac:spMk id="3" creationId="{CED2842D-4DFF-E006-53AC-431E3BD598BD}"/>
          </ac:spMkLst>
        </pc:spChg>
        <pc:spChg chg="mod">
          <ac:chgData name="Krishna Sharma" userId="daa697d5-8440-4694-9c7d-792884c08b9c" providerId="ADAL" clId="{3A17AF7F-858B-4AB1-A500-5ACF4155F568}" dt="2025-06-18T06:17:07.563" v="1306" actId="2711"/>
          <ac:spMkLst>
            <pc:docMk/>
            <pc:sldMk cId="4081262848" sldId="1484"/>
            <ac:spMk id="7" creationId="{8A0FA717-DAE9-A3EC-31A1-8E05C7EE831B}"/>
          </ac:spMkLst>
        </pc:spChg>
        <pc:spChg chg="mod">
          <ac:chgData name="Krishna Sharma" userId="daa697d5-8440-4694-9c7d-792884c08b9c" providerId="ADAL" clId="{3A17AF7F-858B-4AB1-A500-5ACF4155F568}" dt="2025-06-18T06:17:07.563" v="1306" actId="2711"/>
          <ac:spMkLst>
            <pc:docMk/>
            <pc:sldMk cId="4081262848" sldId="1484"/>
            <ac:spMk id="8" creationId="{5DEED1DE-10ED-531C-CDDA-ED0F2BC7FB07}"/>
          </ac:spMkLst>
        </pc:spChg>
        <pc:spChg chg="mod">
          <ac:chgData name="Krishna Sharma" userId="daa697d5-8440-4694-9c7d-792884c08b9c" providerId="ADAL" clId="{3A17AF7F-858B-4AB1-A500-5ACF4155F568}" dt="2025-06-18T06:17:07.563" v="1306" actId="2711"/>
          <ac:spMkLst>
            <pc:docMk/>
            <pc:sldMk cId="4081262848" sldId="1484"/>
            <ac:spMk id="11" creationId="{0E4518C5-E9C1-0275-14C4-8C61EB755D7B}"/>
          </ac:spMkLst>
        </pc:spChg>
        <pc:graphicFrameChg chg="del">
          <ac:chgData name="Krishna Sharma" userId="daa697d5-8440-4694-9c7d-792884c08b9c" providerId="ADAL" clId="{3A17AF7F-858B-4AB1-A500-5ACF4155F568}" dt="2025-06-18T06:16:10.950" v="1297" actId="11529"/>
          <ac:graphicFrameMkLst>
            <pc:docMk/>
            <pc:sldMk cId="4081262848" sldId="1484"/>
            <ac:graphicFrameMk id="4" creationId="{9CE541A5-31BB-9AE8-2FD5-ED2EF7FF58D5}"/>
          </ac:graphicFrameMkLst>
        </pc:graphicFrameChg>
        <pc:picChg chg="add del mod">
          <ac:chgData name="Krishna Sharma" userId="daa697d5-8440-4694-9c7d-792884c08b9c" providerId="ADAL" clId="{3A17AF7F-858B-4AB1-A500-5ACF4155F568}" dt="2025-06-18T06:21:08.311" v="1315" actId="478"/>
          <ac:picMkLst>
            <pc:docMk/>
            <pc:sldMk cId="4081262848" sldId="1484"/>
            <ac:picMk id="5" creationId="{00AD820A-AC1D-BD10-41FF-2793AC8C3011}"/>
          </ac:picMkLst>
        </pc:picChg>
        <pc:picChg chg="add del">
          <ac:chgData name="Krishna Sharma" userId="daa697d5-8440-4694-9c7d-792884c08b9c" providerId="ADAL" clId="{3A17AF7F-858B-4AB1-A500-5ACF4155F568}" dt="2025-06-18T06:20:01.301" v="1314" actId="478"/>
          <ac:picMkLst>
            <pc:docMk/>
            <pc:sldMk cId="4081262848" sldId="1484"/>
            <ac:picMk id="6" creationId="{D277C076-2D95-B678-8093-012786C79F8B}"/>
          </ac:picMkLst>
        </pc:picChg>
        <pc:picChg chg="add del mod">
          <ac:chgData name="Krishna Sharma" userId="daa697d5-8440-4694-9c7d-792884c08b9c" providerId="ADAL" clId="{3A17AF7F-858B-4AB1-A500-5ACF4155F568}" dt="2025-06-18T06:23:54.612" v="1323" actId="478"/>
          <ac:picMkLst>
            <pc:docMk/>
            <pc:sldMk cId="4081262848" sldId="1484"/>
            <ac:picMk id="9" creationId="{3BCD5CE2-B81C-A49F-A022-248F5733D4C0}"/>
          </ac:picMkLst>
        </pc:picChg>
        <pc:picChg chg="add del">
          <ac:chgData name="Krishna Sharma" userId="daa697d5-8440-4694-9c7d-792884c08b9c" providerId="ADAL" clId="{3A17AF7F-858B-4AB1-A500-5ACF4155F568}" dt="2025-06-18T06:21:52.839" v="1321" actId="478"/>
          <ac:picMkLst>
            <pc:docMk/>
            <pc:sldMk cId="4081262848" sldId="1484"/>
            <ac:picMk id="10" creationId="{BD74ABDA-D509-E0AE-9006-E7A4E328A25A}"/>
          </ac:picMkLst>
        </pc:picChg>
        <pc:picChg chg="add del mod">
          <ac:chgData name="Krishna Sharma" userId="daa697d5-8440-4694-9c7d-792884c08b9c" providerId="ADAL" clId="{3A17AF7F-858B-4AB1-A500-5ACF4155F568}" dt="2025-06-18T07:02:02.148" v="1517" actId="478"/>
          <ac:picMkLst>
            <pc:docMk/>
            <pc:sldMk cId="4081262848" sldId="1484"/>
            <ac:picMk id="12" creationId="{F1D7D660-C3EC-1D02-2A72-78425FE1F9B4}"/>
          </ac:picMkLst>
        </pc:picChg>
        <pc:picChg chg="add del mod">
          <ac:chgData name="Krishna Sharma" userId="daa697d5-8440-4694-9c7d-792884c08b9c" providerId="ADAL" clId="{3A17AF7F-858B-4AB1-A500-5ACF4155F568}" dt="2025-06-18T07:05:15.812" v="1527" actId="478"/>
          <ac:picMkLst>
            <pc:docMk/>
            <pc:sldMk cId="4081262848" sldId="1484"/>
            <ac:picMk id="13" creationId="{F90ABE19-01BC-6628-38A9-CCB95629CD9E}"/>
          </ac:picMkLst>
        </pc:picChg>
        <pc:picChg chg="add mod">
          <ac:chgData name="Krishna Sharma" userId="daa697d5-8440-4694-9c7d-792884c08b9c" providerId="ADAL" clId="{3A17AF7F-858B-4AB1-A500-5ACF4155F568}" dt="2025-06-18T07:05:19.094" v="1528" actId="1076"/>
          <ac:picMkLst>
            <pc:docMk/>
            <pc:sldMk cId="4081262848" sldId="1484"/>
            <ac:picMk id="14" creationId="{2DAAD873-6AC6-158F-61F7-66107B4DC73D}"/>
          </ac:picMkLst>
        </pc:picChg>
      </pc:sldChg>
      <pc:sldChg chg="addSp delSp modSp del mod setBg">
        <pc:chgData name="Krishna Sharma" userId="daa697d5-8440-4694-9c7d-792884c08b9c" providerId="ADAL" clId="{3A17AF7F-858B-4AB1-A500-5ACF4155F568}" dt="2025-06-18T06:25:46.625" v="1333" actId="47"/>
        <pc:sldMkLst>
          <pc:docMk/>
          <pc:sldMk cId="2521043094" sldId="1485"/>
        </pc:sldMkLst>
        <pc:spChg chg="mod">
          <ac:chgData name="Krishna Sharma" userId="daa697d5-8440-4694-9c7d-792884c08b9c" providerId="ADAL" clId="{3A17AF7F-858B-4AB1-A500-5ACF4155F568}" dt="2025-06-18T06:25:01.600" v="1328" actId="26606"/>
          <ac:spMkLst>
            <pc:docMk/>
            <pc:sldMk cId="2521043094" sldId="1485"/>
            <ac:spMk id="2" creationId="{3CD52E21-E1C3-150F-720A-92470B541E7B}"/>
          </ac:spMkLst>
        </pc:spChg>
        <pc:spChg chg="mod ord">
          <ac:chgData name="Krishna Sharma" userId="daa697d5-8440-4694-9c7d-792884c08b9c" providerId="ADAL" clId="{3A17AF7F-858B-4AB1-A500-5ACF4155F568}" dt="2025-06-18T06:25:01.600" v="1328" actId="26606"/>
          <ac:spMkLst>
            <pc:docMk/>
            <pc:sldMk cId="2521043094" sldId="1485"/>
            <ac:spMk id="7" creationId="{750BB4CC-1DD7-76A4-6B37-569E0EBB1294}"/>
          </ac:spMkLst>
        </pc:spChg>
        <pc:spChg chg="mod ord">
          <ac:chgData name="Krishna Sharma" userId="daa697d5-8440-4694-9c7d-792884c08b9c" providerId="ADAL" clId="{3A17AF7F-858B-4AB1-A500-5ACF4155F568}" dt="2025-06-18T06:25:01.600" v="1328" actId="26606"/>
          <ac:spMkLst>
            <pc:docMk/>
            <pc:sldMk cId="2521043094" sldId="1485"/>
            <ac:spMk id="8" creationId="{3070AB21-D5A0-394D-A941-7300B53A84D7}"/>
          </ac:spMkLst>
        </pc:spChg>
        <pc:spChg chg="del mod">
          <ac:chgData name="Krishna Sharma" userId="daa697d5-8440-4694-9c7d-792884c08b9c" providerId="ADAL" clId="{3A17AF7F-858B-4AB1-A500-5ACF4155F568}" dt="2025-06-18T06:25:01.600" v="1328" actId="26606"/>
          <ac:spMkLst>
            <pc:docMk/>
            <pc:sldMk cId="2521043094" sldId="1485"/>
            <ac:spMk id="9" creationId="{3D85A627-3187-BA02-089C-7550BD8BA685}"/>
          </ac:spMkLst>
        </pc:spChg>
        <pc:spChg chg="mod">
          <ac:chgData name="Krishna Sharma" userId="daa697d5-8440-4694-9c7d-792884c08b9c" providerId="ADAL" clId="{3A17AF7F-858B-4AB1-A500-5ACF4155F568}" dt="2025-06-18T06:25:01.600" v="1328" actId="26606"/>
          <ac:spMkLst>
            <pc:docMk/>
            <pc:sldMk cId="2521043094" sldId="1485"/>
            <ac:spMk id="11" creationId="{4D865A11-E9D7-D77D-2841-BBC722676F67}"/>
          </ac:spMkLst>
        </pc:spChg>
        <pc:spChg chg="add">
          <ac:chgData name="Krishna Sharma" userId="daa697d5-8440-4694-9c7d-792884c08b9c" providerId="ADAL" clId="{3A17AF7F-858B-4AB1-A500-5ACF4155F568}" dt="2025-06-18T06:25:01.600" v="1328" actId="26606"/>
          <ac:spMkLst>
            <pc:docMk/>
            <pc:sldMk cId="2521043094" sldId="1485"/>
            <ac:spMk id="17" creationId="{BACC6370-2D7E-4714-9D71-7542949D7D5D}"/>
          </ac:spMkLst>
        </pc:spChg>
        <pc:spChg chg="add">
          <ac:chgData name="Krishna Sharma" userId="daa697d5-8440-4694-9c7d-792884c08b9c" providerId="ADAL" clId="{3A17AF7F-858B-4AB1-A500-5ACF4155F568}" dt="2025-06-18T06:25:01.600" v="1328" actId="26606"/>
          <ac:spMkLst>
            <pc:docMk/>
            <pc:sldMk cId="2521043094" sldId="1485"/>
            <ac:spMk id="19" creationId="{F68B3F68-107C-434F-AA38-110D5EA91B85}"/>
          </ac:spMkLst>
        </pc:spChg>
        <pc:spChg chg="add">
          <ac:chgData name="Krishna Sharma" userId="daa697d5-8440-4694-9c7d-792884c08b9c" providerId="ADAL" clId="{3A17AF7F-858B-4AB1-A500-5ACF4155F568}" dt="2025-06-18T06:25:01.600" v="1328" actId="26606"/>
          <ac:spMkLst>
            <pc:docMk/>
            <pc:sldMk cId="2521043094" sldId="1485"/>
            <ac:spMk id="21" creationId="{AAD0DBB9-1A4B-4391-81D4-CB19F9AB918A}"/>
          </ac:spMkLst>
        </pc:spChg>
        <pc:spChg chg="add">
          <ac:chgData name="Krishna Sharma" userId="daa697d5-8440-4694-9c7d-792884c08b9c" providerId="ADAL" clId="{3A17AF7F-858B-4AB1-A500-5ACF4155F568}" dt="2025-06-18T06:25:01.600" v="1328" actId="26606"/>
          <ac:spMkLst>
            <pc:docMk/>
            <pc:sldMk cId="2521043094" sldId="1485"/>
            <ac:spMk id="23" creationId="{063BBA22-50EA-4C4D-BE05-F1CE4E63AA56}"/>
          </ac:spMkLst>
        </pc:spChg>
        <pc:graphicFrameChg chg="add">
          <ac:chgData name="Krishna Sharma" userId="daa697d5-8440-4694-9c7d-792884c08b9c" providerId="ADAL" clId="{3A17AF7F-858B-4AB1-A500-5ACF4155F568}" dt="2025-06-18T06:25:01.600" v="1328" actId="26606"/>
          <ac:graphicFrameMkLst>
            <pc:docMk/>
            <pc:sldMk cId="2521043094" sldId="1485"/>
            <ac:graphicFrameMk id="13" creationId="{B079342E-93A6-ED41-0C75-12902B04D117}"/>
          </ac:graphicFrameMkLst>
        </pc:graphicFrameChg>
        <pc:picChg chg="del">
          <ac:chgData name="Krishna Sharma" userId="daa697d5-8440-4694-9c7d-792884c08b9c" providerId="ADAL" clId="{3A17AF7F-858B-4AB1-A500-5ACF4155F568}" dt="2025-06-18T06:24:37.157" v="1326" actId="478"/>
          <ac:picMkLst>
            <pc:docMk/>
            <pc:sldMk cId="2521043094" sldId="1485"/>
            <ac:picMk id="6" creationId="{9FBA8219-004E-385B-2E23-4D0ADCFA6264}"/>
          </ac:picMkLst>
        </pc:picChg>
      </pc:sldChg>
      <pc:sldChg chg="addSp delSp modSp mod">
        <pc:chgData name="Krishna Sharma" userId="daa697d5-8440-4694-9c7d-792884c08b9c" providerId="ADAL" clId="{3A17AF7F-858B-4AB1-A500-5ACF4155F568}" dt="2025-06-18T07:15:01.960" v="1577" actId="2711"/>
        <pc:sldMkLst>
          <pc:docMk/>
          <pc:sldMk cId="245077087" sldId="1486"/>
        </pc:sldMkLst>
        <pc:spChg chg="mod">
          <ac:chgData name="Krishna Sharma" userId="daa697d5-8440-4694-9c7d-792884c08b9c" providerId="ADAL" clId="{3A17AF7F-858B-4AB1-A500-5ACF4155F568}" dt="2025-06-18T07:15:01.960" v="1577" actId="2711"/>
          <ac:spMkLst>
            <pc:docMk/>
            <pc:sldMk cId="245077087" sldId="1486"/>
            <ac:spMk id="2" creationId="{4BCF82C5-129B-2324-F970-28DD8EB721D3}"/>
          </ac:spMkLst>
        </pc:spChg>
        <pc:spChg chg="add mod">
          <ac:chgData name="Krishna Sharma" userId="daa697d5-8440-4694-9c7d-792884c08b9c" providerId="ADAL" clId="{3A17AF7F-858B-4AB1-A500-5ACF4155F568}" dt="2025-06-18T07:15:01.960" v="1577" actId="2711"/>
          <ac:spMkLst>
            <pc:docMk/>
            <pc:sldMk cId="245077087" sldId="1486"/>
            <ac:spMk id="3" creationId="{5ED7E51E-E4EC-C95E-48DC-FB8654046CF9}"/>
          </ac:spMkLst>
        </pc:spChg>
        <pc:spChg chg="mod">
          <ac:chgData name="Krishna Sharma" userId="daa697d5-8440-4694-9c7d-792884c08b9c" providerId="ADAL" clId="{3A17AF7F-858B-4AB1-A500-5ACF4155F568}" dt="2025-06-18T07:15:01.960" v="1577" actId="2711"/>
          <ac:spMkLst>
            <pc:docMk/>
            <pc:sldMk cId="245077087" sldId="1486"/>
            <ac:spMk id="7" creationId="{A027787D-1F81-7A30-56DF-1CA7AC8781B3}"/>
          </ac:spMkLst>
        </pc:spChg>
        <pc:spChg chg="mod">
          <ac:chgData name="Krishna Sharma" userId="daa697d5-8440-4694-9c7d-792884c08b9c" providerId="ADAL" clId="{3A17AF7F-858B-4AB1-A500-5ACF4155F568}" dt="2025-06-18T07:15:01.960" v="1577" actId="2711"/>
          <ac:spMkLst>
            <pc:docMk/>
            <pc:sldMk cId="245077087" sldId="1486"/>
            <ac:spMk id="8" creationId="{33B1A032-7830-18DE-DEB7-EFA0900D604F}"/>
          </ac:spMkLst>
        </pc:spChg>
        <pc:spChg chg="mod">
          <ac:chgData name="Krishna Sharma" userId="daa697d5-8440-4694-9c7d-792884c08b9c" providerId="ADAL" clId="{3A17AF7F-858B-4AB1-A500-5ACF4155F568}" dt="2025-06-18T07:15:01.960" v="1577" actId="2711"/>
          <ac:spMkLst>
            <pc:docMk/>
            <pc:sldMk cId="245077087" sldId="1486"/>
            <ac:spMk id="11" creationId="{F59E4C5D-F0B6-5C19-339C-2403CFDEFF1D}"/>
          </ac:spMkLst>
        </pc:spChg>
        <pc:graphicFrameChg chg="del">
          <ac:chgData name="Krishna Sharma" userId="daa697d5-8440-4694-9c7d-792884c08b9c" providerId="ADAL" clId="{3A17AF7F-858B-4AB1-A500-5ACF4155F568}" dt="2025-06-18T07:05:37.019" v="1529" actId="11529"/>
          <ac:graphicFrameMkLst>
            <pc:docMk/>
            <pc:sldMk cId="245077087" sldId="1486"/>
            <ac:graphicFrameMk id="4" creationId="{FDCA697E-4866-6D0E-CD20-AAF094CEBE61}"/>
          </ac:graphicFrameMkLst>
        </pc:graphicFrameChg>
        <pc:picChg chg="add mod">
          <ac:chgData name="Krishna Sharma" userId="daa697d5-8440-4694-9c7d-792884c08b9c" providerId="ADAL" clId="{3A17AF7F-858B-4AB1-A500-5ACF4155F568}" dt="2025-06-18T07:07:59.865" v="1558" actId="1076"/>
          <ac:picMkLst>
            <pc:docMk/>
            <pc:sldMk cId="245077087" sldId="1486"/>
            <ac:picMk id="5" creationId="{5B751E6E-3F9D-AAF9-7FB7-07DAD5DEFB5D}"/>
          </ac:picMkLst>
        </pc:picChg>
      </pc:sldChg>
      <pc:sldChg chg="addSp delSp modSp mod">
        <pc:chgData name="Krishna Sharma" userId="daa697d5-8440-4694-9c7d-792884c08b9c" providerId="ADAL" clId="{3A17AF7F-858B-4AB1-A500-5ACF4155F568}" dt="2025-06-18T07:14:53.952" v="1576" actId="2711"/>
        <pc:sldMkLst>
          <pc:docMk/>
          <pc:sldMk cId="1349145241" sldId="1487"/>
        </pc:sldMkLst>
        <pc:spChg chg="mod">
          <ac:chgData name="Krishna Sharma" userId="daa697d5-8440-4694-9c7d-792884c08b9c" providerId="ADAL" clId="{3A17AF7F-858B-4AB1-A500-5ACF4155F568}" dt="2025-06-18T07:14:53.952" v="1576" actId="2711"/>
          <ac:spMkLst>
            <pc:docMk/>
            <pc:sldMk cId="1349145241" sldId="1487"/>
            <ac:spMk id="2" creationId="{7B2C060C-C60C-CE5B-D0DF-D5EB2B3C2012}"/>
          </ac:spMkLst>
        </pc:spChg>
        <pc:spChg chg="mod">
          <ac:chgData name="Krishna Sharma" userId="daa697d5-8440-4694-9c7d-792884c08b9c" providerId="ADAL" clId="{3A17AF7F-858B-4AB1-A500-5ACF4155F568}" dt="2025-06-18T07:14:53.952" v="1576" actId="2711"/>
          <ac:spMkLst>
            <pc:docMk/>
            <pc:sldMk cId="1349145241" sldId="1487"/>
            <ac:spMk id="7" creationId="{75DF30F5-7F50-B1A1-3F84-208C7EB45BA6}"/>
          </ac:spMkLst>
        </pc:spChg>
        <pc:spChg chg="mod">
          <ac:chgData name="Krishna Sharma" userId="daa697d5-8440-4694-9c7d-792884c08b9c" providerId="ADAL" clId="{3A17AF7F-858B-4AB1-A500-5ACF4155F568}" dt="2025-06-18T07:14:53.952" v="1576" actId="2711"/>
          <ac:spMkLst>
            <pc:docMk/>
            <pc:sldMk cId="1349145241" sldId="1487"/>
            <ac:spMk id="8" creationId="{818D8C22-20C2-9710-72A4-6880DBB3C3D8}"/>
          </ac:spMkLst>
        </pc:spChg>
        <pc:spChg chg="mod">
          <ac:chgData name="Krishna Sharma" userId="daa697d5-8440-4694-9c7d-792884c08b9c" providerId="ADAL" clId="{3A17AF7F-858B-4AB1-A500-5ACF4155F568}" dt="2025-06-18T07:14:53.952" v="1576" actId="2711"/>
          <ac:spMkLst>
            <pc:docMk/>
            <pc:sldMk cId="1349145241" sldId="1487"/>
            <ac:spMk id="9" creationId="{D654DD09-6F5D-3B43-9476-DB519F958288}"/>
          </ac:spMkLst>
        </pc:spChg>
        <pc:spChg chg="mod">
          <ac:chgData name="Krishna Sharma" userId="daa697d5-8440-4694-9c7d-792884c08b9c" providerId="ADAL" clId="{3A17AF7F-858B-4AB1-A500-5ACF4155F568}" dt="2025-06-18T07:14:53.952" v="1576" actId="2711"/>
          <ac:spMkLst>
            <pc:docMk/>
            <pc:sldMk cId="1349145241" sldId="1487"/>
            <ac:spMk id="11" creationId="{EF5954AA-9D95-3617-62D5-9E1709A86AB3}"/>
          </ac:spMkLst>
        </pc:spChg>
        <pc:picChg chg="add del mod">
          <ac:chgData name="Krishna Sharma" userId="daa697d5-8440-4694-9c7d-792884c08b9c" providerId="ADAL" clId="{3A17AF7F-858B-4AB1-A500-5ACF4155F568}" dt="2025-06-18T07:13:45.525" v="1566" actId="478"/>
          <ac:picMkLst>
            <pc:docMk/>
            <pc:sldMk cId="1349145241" sldId="1487"/>
            <ac:picMk id="3" creationId="{FA8AE862-5830-4021-81F9-4CC9D2846920}"/>
          </ac:picMkLst>
        </pc:picChg>
        <pc:picChg chg="add del mod">
          <ac:chgData name="Krishna Sharma" userId="daa697d5-8440-4694-9c7d-792884c08b9c" providerId="ADAL" clId="{3A17AF7F-858B-4AB1-A500-5ACF4155F568}" dt="2025-06-18T07:14:31.289" v="1571" actId="478"/>
          <ac:picMkLst>
            <pc:docMk/>
            <pc:sldMk cId="1349145241" sldId="1487"/>
            <ac:picMk id="4" creationId="{25A7E01F-DFFD-1314-43F5-FF096167FFF7}"/>
          </ac:picMkLst>
        </pc:picChg>
        <pc:picChg chg="del">
          <ac:chgData name="Krishna Sharma" userId="daa697d5-8440-4694-9c7d-792884c08b9c" providerId="ADAL" clId="{3A17AF7F-858B-4AB1-A500-5ACF4155F568}" dt="2025-06-18T07:11:15.799" v="1563" actId="478"/>
          <ac:picMkLst>
            <pc:docMk/>
            <pc:sldMk cId="1349145241" sldId="1487"/>
            <ac:picMk id="5" creationId="{0C107D0D-9851-7A42-BF4A-0E4A072393F9}"/>
          </ac:picMkLst>
        </pc:picChg>
        <pc:picChg chg="add mod">
          <ac:chgData name="Krishna Sharma" userId="daa697d5-8440-4694-9c7d-792884c08b9c" providerId="ADAL" clId="{3A17AF7F-858B-4AB1-A500-5ACF4155F568}" dt="2025-06-18T07:14:41.665" v="1575" actId="1076"/>
          <ac:picMkLst>
            <pc:docMk/>
            <pc:sldMk cId="1349145241" sldId="1487"/>
            <ac:picMk id="6" creationId="{38EA0211-258E-9B9D-ECA5-6D54504D9C43}"/>
          </ac:picMkLst>
        </pc:picChg>
      </pc:sldChg>
      <pc:sldChg chg="addSp delSp modSp mod ord modNotesTx">
        <pc:chgData name="Krishna Sharma" userId="daa697d5-8440-4694-9c7d-792884c08b9c" providerId="ADAL" clId="{3A17AF7F-858B-4AB1-A500-5ACF4155F568}" dt="2025-06-18T10:23:53.778" v="1811" actId="20577"/>
        <pc:sldMkLst>
          <pc:docMk/>
          <pc:sldMk cId="2382565619" sldId="1490"/>
        </pc:sldMkLst>
        <pc:spChg chg="mod">
          <ac:chgData name="Krishna Sharma" userId="daa697d5-8440-4694-9c7d-792884c08b9c" providerId="ADAL" clId="{3A17AF7F-858B-4AB1-A500-5ACF4155F568}" dt="2025-06-18T09:27:17.584" v="1653" actId="2711"/>
          <ac:spMkLst>
            <pc:docMk/>
            <pc:sldMk cId="2382565619" sldId="1490"/>
            <ac:spMk id="4" creationId="{5AC6F8CD-B88D-D8C1-3A8C-D5B11960C76D}"/>
          </ac:spMkLst>
        </pc:spChg>
        <pc:spChg chg="mod">
          <ac:chgData name="Krishna Sharma" userId="daa697d5-8440-4694-9c7d-792884c08b9c" providerId="ADAL" clId="{3A17AF7F-858B-4AB1-A500-5ACF4155F568}" dt="2025-06-18T09:27:17.584" v="1653" actId="2711"/>
          <ac:spMkLst>
            <pc:docMk/>
            <pc:sldMk cId="2382565619" sldId="1490"/>
            <ac:spMk id="6" creationId="{30C6100E-3CD6-E904-91A9-CC564E161A56}"/>
          </ac:spMkLst>
        </pc:spChg>
        <pc:spChg chg="mod">
          <ac:chgData name="Krishna Sharma" userId="daa697d5-8440-4694-9c7d-792884c08b9c" providerId="ADAL" clId="{3A17AF7F-858B-4AB1-A500-5ACF4155F568}" dt="2025-06-18T09:27:17.584" v="1653" actId="2711"/>
          <ac:spMkLst>
            <pc:docMk/>
            <pc:sldMk cId="2382565619" sldId="1490"/>
            <ac:spMk id="8" creationId="{C5ED17BA-B779-529F-03AC-B4AA26E543BB}"/>
          </ac:spMkLst>
        </pc:spChg>
        <pc:spChg chg="mod">
          <ac:chgData name="Krishna Sharma" userId="daa697d5-8440-4694-9c7d-792884c08b9c" providerId="ADAL" clId="{3A17AF7F-858B-4AB1-A500-5ACF4155F568}" dt="2025-06-18T09:27:17.584" v="1653" actId="2711"/>
          <ac:spMkLst>
            <pc:docMk/>
            <pc:sldMk cId="2382565619" sldId="1490"/>
            <ac:spMk id="9" creationId="{1BE85513-65A7-9C0D-8280-0BBB5DAC25F7}"/>
          </ac:spMkLst>
        </pc:spChg>
        <pc:spChg chg="del mod">
          <ac:chgData name="Krishna Sharma" userId="daa697d5-8440-4694-9c7d-792884c08b9c" providerId="ADAL" clId="{3A17AF7F-858B-4AB1-A500-5ACF4155F568}" dt="2025-06-18T10:18:30.774" v="1772" actId="478"/>
          <ac:spMkLst>
            <pc:docMk/>
            <pc:sldMk cId="2382565619" sldId="1490"/>
            <ac:spMk id="24" creationId="{F002FE78-C408-59E6-0D86-C0FB5A81E40B}"/>
          </ac:spMkLst>
        </pc:spChg>
        <pc:spChg chg="mod">
          <ac:chgData name="Krishna Sharma" userId="daa697d5-8440-4694-9c7d-792884c08b9c" providerId="ADAL" clId="{3A17AF7F-858B-4AB1-A500-5ACF4155F568}" dt="2025-06-18T10:18:44.931" v="1775" actId="20577"/>
          <ac:spMkLst>
            <pc:docMk/>
            <pc:sldMk cId="2382565619" sldId="1490"/>
            <ac:spMk id="29" creationId="{C91268D8-237E-B0A0-6D47-AF4D5D059076}"/>
          </ac:spMkLst>
        </pc:spChg>
        <pc:picChg chg="add mod">
          <ac:chgData name="Krishna Sharma" userId="daa697d5-8440-4694-9c7d-792884c08b9c" providerId="ADAL" clId="{3A17AF7F-858B-4AB1-A500-5ACF4155F568}" dt="2025-06-18T09:38:09.349" v="1668" actId="1076"/>
          <ac:picMkLst>
            <pc:docMk/>
            <pc:sldMk cId="2382565619" sldId="1490"/>
            <ac:picMk id="2" creationId="{211CDC3E-373C-D35A-97AA-13212C6BEF36}"/>
          </ac:picMkLst>
        </pc:picChg>
      </pc:sldChg>
      <pc:sldChg chg="modSp">
        <pc:chgData name="Krishna Sharma" userId="daa697d5-8440-4694-9c7d-792884c08b9c" providerId="ADAL" clId="{3A17AF7F-858B-4AB1-A500-5ACF4155F568}" dt="2025-06-18T09:50:43.380" v="1693" actId="2711"/>
        <pc:sldMkLst>
          <pc:docMk/>
          <pc:sldMk cId="127296720" sldId="1491"/>
        </pc:sldMkLst>
        <pc:spChg chg="mod">
          <ac:chgData name="Krishna Sharma" userId="daa697d5-8440-4694-9c7d-792884c08b9c" providerId="ADAL" clId="{3A17AF7F-858B-4AB1-A500-5ACF4155F568}" dt="2025-06-18T09:50:43.380" v="1693" actId="2711"/>
          <ac:spMkLst>
            <pc:docMk/>
            <pc:sldMk cId="127296720" sldId="1491"/>
            <ac:spMk id="2" creationId="{A38A8F77-519A-026D-3805-5A86AE309536}"/>
          </ac:spMkLst>
        </pc:spChg>
        <pc:spChg chg="mod">
          <ac:chgData name="Krishna Sharma" userId="daa697d5-8440-4694-9c7d-792884c08b9c" providerId="ADAL" clId="{3A17AF7F-858B-4AB1-A500-5ACF4155F568}" dt="2025-06-18T09:50:43.380" v="1693" actId="2711"/>
          <ac:spMkLst>
            <pc:docMk/>
            <pc:sldMk cId="127296720" sldId="1491"/>
            <ac:spMk id="3" creationId="{056EEBE1-5F86-37DE-C8C3-CC2B1F443411}"/>
          </ac:spMkLst>
        </pc:spChg>
        <pc:spChg chg="mod">
          <ac:chgData name="Krishna Sharma" userId="daa697d5-8440-4694-9c7d-792884c08b9c" providerId="ADAL" clId="{3A17AF7F-858B-4AB1-A500-5ACF4155F568}" dt="2025-06-18T09:50:43.380" v="1693" actId="2711"/>
          <ac:spMkLst>
            <pc:docMk/>
            <pc:sldMk cId="127296720" sldId="1491"/>
            <ac:spMk id="4" creationId="{E9B23FBB-289D-E5AF-80D8-CCDE51639453}"/>
          </ac:spMkLst>
        </pc:spChg>
        <pc:spChg chg="mod">
          <ac:chgData name="Krishna Sharma" userId="daa697d5-8440-4694-9c7d-792884c08b9c" providerId="ADAL" clId="{3A17AF7F-858B-4AB1-A500-5ACF4155F568}" dt="2025-06-18T09:50:43.380" v="1693" actId="2711"/>
          <ac:spMkLst>
            <pc:docMk/>
            <pc:sldMk cId="127296720" sldId="1491"/>
            <ac:spMk id="8" creationId="{E26975FA-4FCC-4316-1ED7-876F2A2491B5}"/>
          </ac:spMkLst>
        </pc:spChg>
        <pc:spChg chg="mod">
          <ac:chgData name="Krishna Sharma" userId="daa697d5-8440-4694-9c7d-792884c08b9c" providerId="ADAL" clId="{3A17AF7F-858B-4AB1-A500-5ACF4155F568}" dt="2025-06-18T09:50:43.380" v="1693" actId="2711"/>
          <ac:spMkLst>
            <pc:docMk/>
            <pc:sldMk cId="127296720" sldId="1491"/>
            <ac:spMk id="9" creationId="{4E3BE4E1-3D74-CCC9-6E5F-3F16FC31ADE8}"/>
          </ac:spMkLst>
        </pc:spChg>
        <pc:picChg chg="mod">
          <ac:chgData name="Krishna Sharma" userId="daa697d5-8440-4694-9c7d-792884c08b9c" providerId="ADAL" clId="{3A17AF7F-858B-4AB1-A500-5ACF4155F568}" dt="2025-06-18T09:50:43.380" v="1693" actId="2711"/>
          <ac:picMkLst>
            <pc:docMk/>
            <pc:sldMk cId="127296720" sldId="1491"/>
            <ac:picMk id="7" creationId="{AF297B3A-FC84-266E-A2C0-A5049A8DD17D}"/>
          </ac:picMkLst>
        </pc:picChg>
      </pc:sldChg>
      <pc:sldChg chg="modSp mod">
        <pc:chgData name="Krishna Sharma" userId="daa697d5-8440-4694-9c7d-792884c08b9c" providerId="ADAL" clId="{3A17AF7F-858B-4AB1-A500-5ACF4155F568}" dt="2025-06-18T09:50:19.211" v="1690" actId="2711"/>
        <pc:sldMkLst>
          <pc:docMk/>
          <pc:sldMk cId="3658727067" sldId="1492"/>
        </pc:sldMkLst>
        <pc:spChg chg="mod">
          <ac:chgData name="Krishna Sharma" userId="daa697d5-8440-4694-9c7d-792884c08b9c" providerId="ADAL" clId="{3A17AF7F-858B-4AB1-A500-5ACF4155F568}" dt="2025-06-18T09:50:19.211" v="1690" actId="2711"/>
          <ac:spMkLst>
            <pc:docMk/>
            <pc:sldMk cId="3658727067" sldId="1492"/>
            <ac:spMk id="2" creationId="{FE67D942-ED8D-B289-DE91-1332626704EA}"/>
          </ac:spMkLst>
        </pc:spChg>
        <pc:spChg chg="mod">
          <ac:chgData name="Krishna Sharma" userId="daa697d5-8440-4694-9c7d-792884c08b9c" providerId="ADAL" clId="{3A17AF7F-858B-4AB1-A500-5ACF4155F568}" dt="2025-06-18T09:50:19.211" v="1690" actId="2711"/>
          <ac:spMkLst>
            <pc:docMk/>
            <pc:sldMk cId="3658727067" sldId="1492"/>
            <ac:spMk id="3" creationId="{5F49CE3B-DAC2-EAE1-FF21-24C15A2D9258}"/>
          </ac:spMkLst>
        </pc:spChg>
        <pc:spChg chg="mod">
          <ac:chgData name="Krishna Sharma" userId="daa697d5-8440-4694-9c7d-792884c08b9c" providerId="ADAL" clId="{3A17AF7F-858B-4AB1-A500-5ACF4155F568}" dt="2025-06-18T09:50:19.211" v="1690" actId="2711"/>
          <ac:spMkLst>
            <pc:docMk/>
            <pc:sldMk cId="3658727067" sldId="1492"/>
            <ac:spMk id="4" creationId="{0F0FFE69-10EE-CD5A-622D-8EFDD22DFC82}"/>
          </ac:spMkLst>
        </pc:spChg>
        <pc:spChg chg="mod">
          <ac:chgData name="Krishna Sharma" userId="daa697d5-8440-4694-9c7d-792884c08b9c" providerId="ADAL" clId="{3A17AF7F-858B-4AB1-A500-5ACF4155F568}" dt="2025-06-18T09:50:19.211" v="1690" actId="2711"/>
          <ac:spMkLst>
            <pc:docMk/>
            <pc:sldMk cId="3658727067" sldId="1492"/>
            <ac:spMk id="5" creationId="{554FE719-9FDD-9CA6-4BEC-FB449724AD08}"/>
          </ac:spMkLst>
        </pc:spChg>
        <pc:spChg chg="mod">
          <ac:chgData name="Krishna Sharma" userId="daa697d5-8440-4694-9c7d-792884c08b9c" providerId="ADAL" clId="{3A17AF7F-858B-4AB1-A500-5ACF4155F568}" dt="2025-06-18T09:50:19.211" v="1690" actId="2711"/>
          <ac:spMkLst>
            <pc:docMk/>
            <pc:sldMk cId="3658727067" sldId="1492"/>
            <ac:spMk id="6" creationId="{CF0EA105-9113-1D27-14DD-29295F5F2B3F}"/>
          </ac:spMkLst>
        </pc:spChg>
        <pc:spChg chg="mod">
          <ac:chgData name="Krishna Sharma" userId="daa697d5-8440-4694-9c7d-792884c08b9c" providerId="ADAL" clId="{3A17AF7F-858B-4AB1-A500-5ACF4155F568}" dt="2025-06-18T09:50:19.211" v="1690" actId="2711"/>
          <ac:spMkLst>
            <pc:docMk/>
            <pc:sldMk cId="3658727067" sldId="1492"/>
            <ac:spMk id="7" creationId="{A360CC8C-B501-48B1-53EE-59DA72736E83}"/>
          </ac:spMkLst>
        </pc:spChg>
        <pc:spChg chg="mod">
          <ac:chgData name="Krishna Sharma" userId="daa697d5-8440-4694-9c7d-792884c08b9c" providerId="ADAL" clId="{3A17AF7F-858B-4AB1-A500-5ACF4155F568}" dt="2025-06-18T09:50:19.211" v="1690" actId="2711"/>
          <ac:spMkLst>
            <pc:docMk/>
            <pc:sldMk cId="3658727067" sldId="1492"/>
            <ac:spMk id="8" creationId="{FB02853E-DC9F-EE9A-B9C9-D1A94D9804D9}"/>
          </ac:spMkLst>
        </pc:spChg>
      </pc:sldChg>
      <pc:sldChg chg="modSp mod">
        <pc:chgData name="Krishna Sharma" userId="daa697d5-8440-4694-9c7d-792884c08b9c" providerId="ADAL" clId="{3A17AF7F-858B-4AB1-A500-5ACF4155F568}" dt="2025-06-18T09:50:36.111" v="1692" actId="14100"/>
        <pc:sldMkLst>
          <pc:docMk/>
          <pc:sldMk cId="88185852" sldId="1499"/>
        </pc:sldMkLst>
        <pc:spChg chg="mod">
          <ac:chgData name="Krishna Sharma" userId="daa697d5-8440-4694-9c7d-792884c08b9c" providerId="ADAL" clId="{3A17AF7F-858B-4AB1-A500-5ACF4155F568}" dt="2025-06-18T09:50:29.723" v="1691" actId="2711"/>
          <ac:spMkLst>
            <pc:docMk/>
            <pc:sldMk cId="88185852" sldId="1499"/>
            <ac:spMk id="2" creationId="{95057665-1C5E-06E3-A330-5A4DA33295A6}"/>
          </ac:spMkLst>
        </pc:spChg>
        <pc:spChg chg="mod">
          <ac:chgData name="Krishna Sharma" userId="daa697d5-8440-4694-9c7d-792884c08b9c" providerId="ADAL" clId="{3A17AF7F-858B-4AB1-A500-5ACF4155F568}" dt="2025-06-18T09:50:29.723" v="1691" actId="2711"/>
          <ac:spMkLst>
            <pc:docMk/>
            <pc:sldMk cId="88185852" sldId="1499"/>
            <ac:spMk id="3" creationId="{7378C078-AE21-9931-F13C-C5C41B6AD743}"/>
          </ac:spMkLst>
        </pc:spChg>
        <pc:spChg chg="mod">
          <ac:chgData name="Krishna Sharma" userId="daa697d5-8440-4694-9c7d-792884c08b9c" providerId="ADAL" clId="{3A17AF7F-858B-4AB1-A500-5ACF4155F568}" dt="2025-06-18T09:50:29.723" v="1691" actId="2711"/>
          <ac:spMkLst>
            <pc:docMk/>
            <pc:sldMk cId="88185852" sldId="1499"/>
            <ac:spMk id="4" creationId="{356DDFF9-85DC-DFF7-7DEA-75B5CD305BE8}"/>
          </ac:spMkLst>
        </pc:spChg>
        <pc:spChg chg="mod">
          <ac:chgData name="Krishna Sharma" userId="daa697d5-8440-4694-9c7d-792884c08b9c" providerId="ADAL" clId="{3A17AF7F-858B-4AB1-A500-5ACF4155F568}" dt="2025-06-18T09:50:29.723" v="1691" actId="2711"/>
          <ac:spMkLst>
            <pc:docMk/>
            <pc:sldMk cId="88185852" sldId="1499"/>
            <ac:spMk id="6" creationId="{94A61F51-0B5B-84EF-348B-090A07A3937C}"/>
          </ac:spMkLst>
        </pc:spChg>
        <pc:spChg chg="mod">
          <ac:chgData name="Krishna Sharma" userId="daa697d5-8440-4694-9c7d-792884c08b9c" providerId="ADAL" clId="{3A17AF7F-858B-4AB1-A500-5ACF4155F568}" dt="2025-06-18T09:50:29.723" v="1691" actId="2711"/>
          <ac:spMkLst>
            <pc:docMk/>
            <pc:sldMk cId="88185852" sldId="1499"/>
            <ac:spMk id="8" creationId="{73256C69-6D8E-E894-129E-0305F2EF73AA}"/>
          </ac:spMkLst>
        </pc:spChg>
        <pc:spChg chg="mod">
          <ac:chgData name="Krishna Sharma" userId="daa697d5-8440-4694-9c7d-792884c08b9c" providerId="ADAL" clId="{3A17AF7F-858B-4AB1-A500-5ACF4155F568}" dt="2025-06-18T09:50:36.111" v="1692" actId="14100"/>
          <ac:spMkLst>
            <pc:docMk/>
            <pc:sldMk cId="88185852" sldId="1499"/>
            <ac:spMk id="14" creationId="{C0F26019-6664-1212-F6DD-B8B47EB3DD91}"/>
          </ac:spMkLst>
        </pc:spChg>
        <pc:picChg chg="mod">
          <ac:chgData name="Krishna Sharma" userId="daa697d5-8440-4694-9c7d-792884c08b9c" providerId="ADAL" clId="{3A17AF7F-858B-4AB1-A500-5ACF4155F568}" dt="2025-06-18T09:50:29.723" v="1691" actId="2711"/>
          <ac:picMkLst>
            <pc:docMk/>
            <pc:sldMk cId="88185852" sldId="1499"/>
            <ac:picMk id="7" creationId="{F36E44CA-22FA-9606-24FB-DA4B7A39874A}"/>
          </ac:picMkLst>
        </pc:picChg>
      </pc:sldChg>
      <pc:sldChg chg="modSp mod">
        <pc:chgData name="Krishna Sharma" userId="daa697d5-8440-4694-9c7d-792884c08b9c" providerId="ADAL" clId="{3A17AF7F-858B-4AB1-A500-5ACF4155F568}" dt="2025-06-18T07:40:08.638" v="1641" actId="2711"/>
        <pc:sldMkLst>
          <pc:docMk/>
          <pc:sldMk cId="565224556" sldId="1510"/>
        </pc:sldMkLst>
        <pc:spChg chg="mod">
          <ac:chgData name="Krishna Sharma" userId="daa697d5-8440-4694-9c7d-792884c08b9c" providerId="ADAL" clId="{3A17AF7F-858B-4AB1-A500-5ACF4155F568}" dt="2025-06-18T07:40:08.638" v="1641" actId="2711"/>
          <ac:spMkLst>
            <pc:docMk/>
            <pc:sldMk cId="565224556" sldId="1510"/>
            <ac:spMk id="2" creationId="{1B5936FD-1434-8810-7AD4-09AF7C1B2FE1}"/>
          </ac:spMkLst>
        </pc:spChg>
        <pc:spChg chg="mod">
          <ac:chgData name="Krishna Sharma" userId="daa697d5-8440-4694-9c7d-792884c08b9c" providerId="ADAL" clId="{3A17AF7F-858B-4AB1-A500-5ACF4155F568}" dt="2025-06-18T07:40:08.638" v="1641" actId="2711"/>
          <ac:spMkLst>
            <pc:docMk/>
            <pc:sldMk cId="565224556" sldId="1510"/>
            <ac:spMk id="6" creationId="{95158ED6-3275-7ACA-831E-E7DABFFEA9B9}"/>
          </ac:spMkLst>
        </pc:spChg>
        <pc:spChg chg="mod">
          <ac:chgData name="Krishna Sharma" userId="daa697d5-8440-4694-9c7d-792884c08b9c" providerId="ADAL" clId="{3A17AF7F-858B-4AB1-A500-5ACF4155F568}" dt="2025-06-18T07:40:08.638" v="1641" actId="2711"/>
          <ac:spMkLst>
            <pc:docMk/>
            <pc:sldMk cId="565224556" sldId="1510"/>
            <ac:spMk id="8" creationId="{DFD8649F-98B8-2A2B-AB32-79D2F763C471}"/>
          </ac:spMkLst>
        </pc:spChg>
        <pc:spChg chg="mod">
          <ac:chgData name="Krishna Sharma" userId="daa697d5-8440-4694-9c7d-792884c08b9c" providerId="ADAL" clId="{3A17AF7F-858B-4AB1-A500-5ACF4155F568}" dt="2025-06-18T07:16:18.007" v="1580" actId="207"/>
          <ac:spMkLst>
            <pc:docMk/>
            <pc:sldMk cId="565224556" sldId="1510"/>
            <ac:spMk id="23" creationId="{D148992D-28CA-2D0C-1684-D824033CAC23}"/>
          </ac:spMkLst>
        </pc:spChg>
        <pc:spChg chg="mod">
          <ac:chgData name="Krishna Sharma" userId="daa697d5-8440-4694-9c7d-792884c08b9c" providerId="ADAL" clId="{3A17AF7F-858B-4AB1-A500-5ACF4155F568}" dt="2025-06-18T07:16:18.007" v="1580" actId="207"/>
          <ac:spMkLst>
            <pc:docMk/>
            <pc:sldMk cId="565224556" sldId="1510"/>
            <ac:spMk id="25" creationId="{DB6975E5-0385-80DF-7B18-C8788E61FE78}"/>
          </ac:spMkLst>
        </pc:spChg>
        <pc:spChg chg="mod">
          <ac:chgData name="Krishna Sharma" userId="daa697d5-8440-4694-9c7d-792884c08b9c" providerId="ADAL" clId="{3A17AF7F-858B-4AB1-A500-5ACF4155F568}" dt="2025-06-18T07:16:18.007" v="1580" actId="207"/>
          <ac:spMkLst>
            <pc:docMk/>
            <pc:sldMk cId="565224556" sldId="1510"/>
            <ac:spMk id="26" creationId="{E8AEDE0B-68E2-F25B-DA5B-AD580AC4059D}"/>
          </ac:spMkLst>
        </pc:spChg>
        <pc:spChg chg="mod">
          <ac:chgData name="Krishna Sharma" userId="daa697d5-8440-4694-9c7d-792884c08b9c" providerId="ADAL" clId="{3A17AF7F-858B-4AB1-A500-5ACF4155F568}" dt="2025-06-18T07:16:18.007" v="1580" actId="207"/>
          <ac:spMkLst>
            <pc:docMk/>
            <pc:sldMk cId="565224556" sldId="1510"/>
            <ac:spMk id="27" creationId="{015A94DC-50BF-35AD-E1F2-F42C6078F762}"/>
          </ac:spMkLst>
        </pc:spChg>
        <pc:spChg chg="mod">
          <ac:chgData name="Krishna Sharma" userId="daa697d5-8440-4694-9c7d-792884c08b9c" providerId="ADAL" clId="{3A17AF7F-858B-4AB1-A500-5ACF4155F568}" dt="2025-06-18T07:16:18.007" v="1580" actId="207"/>
          <ac:spMkLst>
            <pc:docMk/>
            <pc:sldMk cId="565224556" sldId="1510"/>
            <ac:spMk id="28" creationId="{382E3971-54BD-2740-7E1A-CA619237C507}"/>
          </ac:spMkLst>
        </pc:spChg>
        <pc:spChg chg="mod">
          <ac:chgData name="Krishna Sharma" userId="daa697d5-8440-4694-9c7d-792884c08b9c" providerId="ADAL" clId="{3A17AF7F-858B-4AB1-A500-5ACF4155F568}" dt="2025-06-18T07:40:08.638" v="1641" actId="2711"/>
          <ac:spMkLst>
            <pc:docMk/>
            <pc:sldMk cId="565224556" sldId="1510"/>
            <ac:spMk id="29" creationId="{20C83A05-7431-BEE0-7845-D4847786D369}"/>
          </ac:spMkLst>
        </pc:spChg>
        <pc:spChg chg="mod">
          <ac:chgData name="Krishna Sharma" userId="daa697d5-8440-4694-9c7d-792884c08b9c" providerId="ADAL" clId="{3A17AF7F-858B-4AB1-A500-5ACF4155F568}" dt="2025-06-18T07:40:08.638" v="1641" actId="2711"/>
          <ac:spMkLst>
            <pc:docMk/>
            <pc:sldMk cId="565224556" sldId="1510"/>
            <ac:spMk id="30" creationId="{0184B317-9560-E781-E807-F155D8F36185}"/>
          </ac:spMkLst>
        </pc:spChg>
        <pc:spChg chg="mod">
          <ac:chgData name="Krishna Sharma" userId="daa697d5-8440-4694-9c7d-792884c08b9c" providerId="ADAL" clId="{3A17AF7F-858B-4AB1-A500-5ACF4155F568}" dt="2025-06-18T07:40:08.638" v="1641" actId="2711"/>
          <ac:spMkLst>
            <pc:docMk/>
            <pc:sldMk cId="565224556" sldId="1510"/>
            <ac:spMk id="47" creationId="{E80F7DEE-5E01-4FA5-611A-92EDAD1CDF52}"/>
          </ac:spMkLst>
        </pc:spChg>
        <pc:spChg chg="mod">
          <ac:chgData name="Krishna Sharma" userId="daa697d5-8440-4694-9c7d-792884c08b9c" providerId="ADAL" clId="{3A17AF7F-858B-4AB1-A500-5ACF4155F568}" dt="2025-06-18T07:40:08.638" v="1641" actId="2711"/>
          <ac:spMkLst>
            <pc:docMk/>
            <pc:sldMk cId="565224556" sldId="1510"/>
            <ac:spMk id="54" creationId="{A8064341-1F6B-DD00-6081-ADE74F8D79EE}"/>
          </ac:spMkLst>
        </pc:spChg>
        <pc:spChg chg="mod">
          <ac:chgData name="Krishna Sharma" userId="daa697d5-8440-4694-9c7d-792884c08b9c" providerId="ADAL" clId="{3A17AF7F-858B-4AB1-A500-5ACF4155F568}" dt="2025-06-18T07:40:08.638" v="1641" actId="2711"/>
          <ac:spMkLst>
            <pc:docMk/>
            <pc:sldMk cId="565224556" sldId="1510"/>
            <ac:spMk id="55" creationId="{4A5AC74B-32C0-2B84-EFFF-B7EC464DB1E1}"/>
          </ac:spMkLst>
        </pc:spChg>
        <pc:spChg chg="mod">
          <ac:chgData name="Krishna Sharma" userId="daa697d5-8440-4694-9c7d-792884c08b9c" providerId="ADAL" clId="{3A17AF7F-858B-4AB1-A500-5ACF4155F568}" dt="2025-06-18T07:40:08.638" v="1641" actId="2711"/>
          <ac:spMkLst>
            <pc:docMk/>
            <pc:sldMk cId="565224556" sldId="1510"/>
            <ac:spMk id="62" creationId="{E387BDB4-63D9-8059-6F3A-8B33FAA88315}"/>
          </ac:spMkLst>
        </pc:spChg>
        <pc:spChg chg="mod">
          <ac:chgData name="Krishna Sharma" userId="daa697d5-8440-4694-9c7d-792884c08b9c" providerId="ADAL" clId="{3A17AF7F-858B-4AB1-A500-5ACF4155F568}" dt="2025-06-18T07:40:08.638" v="1641" actId="2711"/>
          <ac:spMkLst>
            <pc:docMk/>
            <pc:sldMk cId="565224556" sldId="1510"/>
            <ac:spMk id="129" creationId="{49E7AEA4-B299-E75C-9D56-CCDE04886D01}"/>
          </ac:spMkLst>
        </pc:spChg>
        <pc:grpChg chg="mod">
          <ac:chgData name="Krishna Sharma" userId="daa697d5-8440-4694-9c7d-792884c08b9c" providerId="ADAL" clId="{3A17AF7F-858B-4AB1-A500-5ACF4155F568}" dt="2025-06-18T07:16:18.007" v="1580" actId="207"/>
          <ac:grpSpMkLst>
            <pc:docMk/>
            <pc:sldMk cId="565224556" sldId="1510"/>
            <ac:grpSpMk id="133" creationId="{D3247AE2-D1AE-D629-4F72-7CBCB566545C}"/>
          </ac:grpSpMkLst>
        </pc:grpChg>
        <pc:picChg chg="mod">
          <ac:chgData name="Krishna Sharma" userId="daa697d5-8440-4694-9c7d-792884c08b9c" providerId="ADAL" clId="{3A17AF7F-858B-4AB1-A500-5ACF4155F568}" dt="2025-06-18T07:19:07.119" v="1614" actId="1035"/>
          <ac:picMkLst>
            <pc:docMk/>
            <pc:sldMk cId="565224556" sldId="1510"/>
            <ac:picMk id="24" creationId="{141F0861-B168-C772-C071-026754A1B914}"/>
          </ac:picMkLst>
        </pc:picChg>
        <pc:picChg chg="mod">
          <ac:chgData name="Krishna Sharma" userId="daa697d5-8440-4694-9c7d-792884c08b9c" providerId="ADAL" clId="{3A17AF7F-858B-4AB1-A500-5ACF4155F568}" dt="2025-06-18T07:19:25.938" v="1622" actId="1038"/>
          <ac:picMkLst>
            <pc:docMk/>
            <pc:sldMk cId="565224556" sldId="1510"/>
            <ac:picMk id="31" creationId="{A81A64D0-0102-5B85-97AA-9D324A6A5665}"/>
          </ac:picMkLst>
        </pc:picChg>
        <pc:picChg chg="mod">
          <ac:chgData name="Krishna Sharma" userId="daa697d5-8440-4694-9c7d-792884c08b9c" providerId="ADAL" clId="{3A17AF7F-858B-4AB1-A500-5ACF4155F568}" dt="2025-06-18T07:19:46.398" v="1636" actId="1037"/>
          <ac:picMkLst>
            <pc:docMk/>
            <pc:sldMk cId="565224556" sldId="1510"/>
            <ac:picMk id="51" creationId="{C2BBBFE9-0597-A6DB-B3A7-AE9BEE796EA2}"/>
          </ac:picMkLst>
        </pc:picChg>
        <pc:picChg chg="mod">
          <ac:chgData name="Krishna Sharma" userId="daa697d5-8440-4694-9c7d-792884c08b9c" providerId="ADAL" clId="{3A17AF7F-858B-4AB1-A500-5ACF4155F568}" dt="2025-06-18T07:19:56.545" v="1640" actId="1076"/>
          <ac:picMkLst>
            <pc:docMk/>
            <pc:sldMk cId="565224556" sldId="1510"/>
            <ac:picMk id="58" creationId="{070594F6-983D-967E-8F46-58454F8593D3}"/>
          </ac:picMkLst>
        </pc:picChg>
      </pc:sldChg>
      <pc:sldChg chg="modSp mod">
        <pc:chgData name="Krishna Sharma" userId="daa697d5-8440-4694-9c7d-792884c08b9c" providerId="ADAL" clId="{3A17AF7F-858B-4AB1-A500-5ACF4155F568}" dt="2025-06-10T11:51:25.966" v="71"/>
        <pc:sldMkLst>
          <pc:docMk/>
          <pc:sldMk cId="117637490" sldId="1511"/>
        </pc:sldMkLst>
        <pc:spChg chg="mod">
          <ac:chgData name="Krishna Sharma" userId="daa697d5-8440-4694-9c7d-792884c08b9c" providerId="ADAL" clId="{3A17AF7F-858B-4AB1-A500-5ACF4155F568}" dt="2025-06-10T11:51:25.966" v="71"/>
          <ac:spMkLst>
            <pc:docMk/>
            <pc:sldMk cId="117637490" sldId="1511"/>
            <ac:spMk id="4" creationId="{A34D0E4B-0102-B999-0FA0-5B07DBFD101E}"/>
          </ac:spMkLst>
        </pc:spChg>
      </pc:sldChg>
      <pc:sldChg chg="modSp mod">
        <pc:chgData name="Krishna Sharma" userId="daa697d5-8440-4694-9c7d-792884c08b9c" providerId="ADAL" clId="{3A17AF7F-858B-4AB1-A500-5ACF4155F568}" dt="2025-06-11T05:54:00.187" v="710"/>
        <pc:sldMkLst>
          <pc:docMk/>
          <pc:sldMk cId="1876151764" sldId="1512"/>
        </pc:sldMkLst>
        <pc:spChg chg="mod">
          <ac:chgData name="Krishna Sharma" userId="daa697d5-8440-4694-9c7d-792884c08b9c" providerId="ADAL" clId="{3A17AF7F-858B-4AB1-A500-5ACF4155F568}" dt="2025-06-11T05:54:00.187" v="710"/>
          <ac:spMkLst>
            <pc:docMk/>
            <pc:sldMk cId="1876151764" sldId="1512"/>
            <ac:spMk id="20" creationId="{C7547C04-D6B8-2248-8E4B-7A8CFE4D633E}"/>
          </ac:spMkLst>
        </pc:spChg>
      </pc:sldChg>
      <pc:sldChg chg="modSp mod">
        <pc:chgData name="Krishna Sharma" userId="daa697d5-8440-4694-9c7d-792884c08b9c" providerId="ADAL" clId="{3A17AF7F-858B-4AB1-A500-5ACF4155F568}" dt="2025-06-11T05:55:37.274" v="728" actId="20577"/>
        <pc:sldMkLst>
          <pc:docMk/>
          <pc:sldMk cId="3867998531" sldId="1514"/>
        </pc:sldMkLst>
        <pc:spChg chg="mod">
          <ac:chgData name="Krishna Sharma" userId="daa697d5-8440-4694-9c7d-792884c08b9c" providerId="ADAL" clId="{3A17AF7F-858B-4AB1-A500-5ACF4155F568}" dt="2025-06-10T11:52:00.798" v="76"/>
          <ac:spMkLst>
            <pc:docMk/>
            <pc:sldMk cId="3867998531" sldId="1514"/>
            <ac:spMk id="18" creationId="{F9E476B3-E100-8A69-E3AB-34F1F588FE80}"/>
          </ac:spMkLst>
        </pc:spChg>
      </pc:sldChg>
      <pc:sldChg chg="modSp mod">
        <pc:chgData name="Krishna Sharma" userId="daa697d5-8440-4694-9c7d-792884c08b9c" providerId="ADAL" clId="{3A17AF7F-858B-4AB1-A500-5ACF4155F568}" dt="2025-06-11T05:56:48.282" v="731"/>
        <pc:sldMkLst>
          <pc:docMk/>
          <pc:sldMk cId="3967225034" sldId="1516"/>
        </pc:sldMkLst>
        <pc:spChg chg="mod">
          <ac:chgData name="Krishna Sharma" userId="daa697d5-8440-4694-9c7d-792884c08b9c" providerId="ADAL" clId="{3A17AF7F-858B-4AB1-A500-5ACF4155F568}" dt="2025-06-11T05:56:48.282" v="731"/>
          <ac:spMkLst>
            <pc:docMk/>
            <pc:sldMk cId="3967225034" sldId="1516"/>
            <ac:spMk id="30" creationId="{C1D4211E-DDCD-C52A-1569-B7E3AD2592DD}"/>
          </ac:spMkLst>
        </pc:spChg>
      </pc:sldChg>
      <pc:sldChg chg="modSp mod">
        <pc:chgData name="Krishna Sharma" userId="daa697d5-8440-4694-9c7d-792884c08b9c" providerId="ADAL" clId="{3A17AF7F-858B-4AB1-A500-5ACF4155F568}" dt="2025-06-17T11:42:45.126" v="1052" actId="2711"/>
        <pc:sldMkLst>
          <pc:docMk/>
          <pc:sldMk cId="4150848885" sldId="1517"/>
        </pc:sldMkLst>
        <pc:spChg chg="mod">
          <ac:chgData name="Krishna Sharma" userId="daa697d5-8440-4694-9c7d-792884c08b9c" providerId="ADAL" clId="{3A17AF7F-858B-4AB1-A500-5ACF4155F568}" dt="2025-06-17T11:42:45.126" v="1052" actId="2711"/>
          <ac:spMkLst>
            <pc:docMk/>
            <pc:sldMk cId="4150848885" sldId="1517"/>
            <ac:spMk id="5" creationId="{E2992855-BA01-AD0F-B4A3-AC8F14BFE050}"/>
          </ac:spMkLst>
        </pc:spChg>
        <pc:spChg chg="mod">
          <ac:chgData name="Krishna Sharma" userId="daa697d5-8440-4694-9c7d-792884c08b9c" providerId="ADAL" clId="{3A17AF7F-858B-4AB1-A500-5ACF4155F568}" dt="2025-06-17T11:42:45.126" v="1052" actId="2711"/>
          <ac:spMkLst>
            <pc:docMk/>
            <pc:sldMk cId="4150848885" sldId="1517"/>
            <ac:spMk id="6" creationId="{D68C4067-977B-2EDF-453F-64DBE95030A0}"/>
          </ac:spMkLst>
        </pc:spChg>
        <pc:spChg chg="mod">
          <ac:chgData name="Krishna Sharma" userId="daa697d5-8440-4694-9c7d-792884c08b9c" providerId="ADAL" clId="{3A17AF7F-858B-4AB1-A500-5ACF4155F568}" dt="2025-06-17T11:42:45.126" v="1052" actId="2711"/>
          <ac:spMkLst>
            <pc:docMk/>
            <pc:sldMk cId="4150848885" sldId="1517"/>
            <ac:spMk id="8" creationId="{B8B1D500-20E7-84AF-797D-74BF280B8EF5}"/>
          </ac:spMkLst>
        </pc:spChg>
        <pc:spChg chg="mod">
          <ac:chgData name="Krishna Sharma" userId="daa697d5-8440-4694-9c7d-792884c08b9c" providerId="ADAL" clId="{3A17AF7F-858B-4AB1-A500-5ACF4155F568}" dt="2025-06-17T11:42:45.126" v="1052" actId="2711"/>
          <ac:spMkLst>
            <pc:docMk/>
            <pc:sldMk cId="4150848885" sldId="1517"/>
            <ac:spMk id="9" creationId="{9465B5BE-D1FD-3875-19D4-86F6B897279D}"/>
          </ac:spMkLst>
        </pc:spChg>
        <pc:spChg chg="mod">
          <ac:chgData name="Krishna Sharma" userId="daa697d5-8440-4694-9c7d-792884c08b9c" providerId="ADAL" clId="{3A17AF7F-858B-4AB1-A500-5ACF4155F568}" dt="2025-06-17T11:42:45.126" v="1052" actId="2711"/>
          <ac:spMkLst>
            <pc:docMk/>
            <pc:sldMk cId="4150848885" sldId="1517"/>
            <ac:spMk id="11" creationId="{581CB975-7A95-5EEB-3BFE-F5EE55561B78}"/>
          </ac:spMkLst>
        </pc:spChg>
      </pc:sldChg>
      <pc:sldChg chg="modSp mod">
        <pc:chgData name="Krishna Sharma" userId="daa697d5-8440-4694-9c7d-792884c08b9c" providerId="ADAL" clId="{3A17AF7F-858B-4AB1-A500-5ACF4155F568}" dt="2025-06-11T05:58:10.179" v="736"/>
        <pc:sldMkLst>
          <pc:docMk/>
          <pc:sldMk cId="1698335145" sldId="1523"/>
        </pc:sldMkLst>
        <pc:spChg chg="mod">
          <ac:chgData name="Krishna Sharma" userId="daa697d5-8440-4694-9c7d-792884c08b9c" providerId="ADAL" clId="{3A17AF7F-858B-4AB1-A500-5ACF4155F568}" dt="2025-06-11T05:58:10.179" v="736"/>
          <ac:spMkLst>
            <pc:docMk/>
            <pc:sldMk cId="1698335145" sldId="1523"/>
            <ac:spMk id="31" creationId="{E78F9FB9-AEC2-6C5A-7F0B-636DD162E023}"/>
          </ac:spMkLst>
        </pc:spChg>
      </pc:sldChg>
      <pc:sldChg chg="modSp mod">
        <pc:chgData name="Krishna Sharma" userId="daa697d5-8440-4694-9c7d-792884c08b9c" providerId="ADAL" clId="{3A17AF7F-858B-4AB1-A500-5ACF4155F568}" dt="2025-06-11T06:04:01.151" v="752"/>
        <pc:sldMkLst>
          <pc:docMk/>
          <pc:sldMk cId="2878427153" sldId="1524"/>
        </pc:sldMkLst>
        <pc:spChg chg="mod">
          <ac:chgData name="Krishna Sharma" userId="daa697d5-8440-4694-9c7d-792884c08b9c" providerId="ADAL" clId="{3A17AF7F-858B-4AB1-A500-5ACF4155F568}" dt="2025-06-11T05:59:20.048" v="739"/>
          <ac:spMkLst>
            <pc:docMk/>
            <pc:sldMk cId="2878427153" sldId="1524"/>
            <ac:spMk id="7" creationId="{A64559D4-A987-327D-A9BF-972DA816FA67}"/>
          </ac:spMkLst>
        </pc:spChg>
        <pc:spChg chg="mod">
          <ac:chgData name="Krishna Sharma" userId="daa697d5-8440-4694-9c7d-792884c08b9c" providerId="ADAL" clId="{3A17AF7F-858B-4AB1-A500-5ACF4155F568}" dt="2025-06-11T06:01:06.613" v="746" actId="20577"/>
          <ac:spMkLst>
            <pc:docMk/>
            <pc:sldMk cId="2878427153" sldId="1524"/>
            <ac:spMk id="13" creationId="{043ACD21-C8A9-6C63-0EC6-9A12298538B8}"/>
          </ac:spMkLst>
        </pc:spChg>
      </pc:sldChg>
      <pc:sldChg chg="modSp mod">
        <pc:chgData name="Krishna Sharma" userId="daa697d5-8440-4694-9c7d-792884c08b9c" providerId="ADAL" clId="{3A17AF7F-858B-4AB1-A500-5ACF4155F568}" dt="2025-06-10T11:53:16.701" v="82"/>
        <pc:sldMkLst>
          <pc:docMk/>
          <pc:sldMk cId="156778809" sldId="1525"/>
        </pc:sldMkLst>
        <pc:spChg chg="mod">
          <ac:chgData name="Krishna Sharma" userId="daa697d5-8440-4694-9c7d-792884c08b9c" providerId="ADAL" clId="{3A17AF7F-858B-4AB1-A500-5ACF4155F568}" dt="2025-06-10T11:53:16.701" v="82"/>
          <ac:spMkLst>
            <pc:docMk/>
            <pc:sldMk cId="156778809" sldId="1525"/>
            <ac:spMk id="4" creationId="{CB99033E-92FC-6ED5-6AA5-2B3715FA03A7}"/>
          </ac:spMkLst>
        </pc:spChg>
      </pc:sldChg>
      <pc:sldChg chg="modSp mod">
        <pc:chgData name="Krishna Sharma" userId="daa697d5-8440-4694-9c7d-792884c08b9c" providerId="ADAL" clId="{3A17AF7F-858B-4AB1-A500-5ACF4155F568}" dt="2025-06-18T10:41:25.390" v="1924" actId="1036"/>
        <pc:sldMkLst>
          <pc:docMk/>
          <pc:sldMk cId="1591007910" sldId="1527"/>
        </pc:sldMkLst>
        <pc:spChg chg="mod">
          <ac:chgData name="Krishna Sharma" userId="daa697d5-8440-4694-9c7d-792884c08b9c" providerId="ADAL" clId="{3A17AF7F-858B-4AB1-A500-5ACF4155F568}" dt="2025-06-18T07:18:03.848" v="1589" actId="2711"/>
          <ac:spMkLst>
            <pc:docMk/>
            <pc:sldMk cId="1591007910" sldId="1527"/>
            <ac:spMk id="2" creationId="{A8DC6AEE-70A8-351C-4E26-6B12CFD24F15}"/>
          </ac:spMkLst>
        </pc:spChg>
        <pc:spChg chg="mod">
          <ac:chgData name="Krishna Sharma" userId="daa697d5-8440-4694-9c7d-792884c08b9c" providerId="ADAL" clId="{3A17AF7F-858B-4AB1-A500-5ACF4155F568}" dt="2025-06-18T07:18:03.848" v="1589" actId="2711"/>
          <ac:spMkLst>
            <pc:docMk/>
            <pc:sldMk cId="1591007910" sldId="1527"/>
            <ac:spMk id="4" creationId="{A92DA0B6-E202-5C5C-FAFC-FD4925DFBCD6}"/>
          </ac:spMkLst>
        </pc:spChg>
        <pc:spChg chg="mod">
          <ac:chgData name="Krishna Sharma" userId="daa697d5-8440-4694-9c7d-792884c08b9c" providerId="ADAL" clId="{3A17AF7F-858B-4AB1-A500-5ACF4155F568}" dt="2025-06-18T10:41:25.390" v="1924" actId="1036"/>
          <ac:spMkLst>
            <pc:docMk/>
            <pc:sldMk cId="1591007910" sldId="1527"/>
            <ac:spMk id="5" creationId="{5687EB62-C5B8-DCA3-FEC3-205219F4E69F}"/>
          </ac:spMkLst>
        </pc:spChg>
        <pc:spChg chg="mod">
          <ac:chgData name="Krishna Sharma" userId="daa697d5-8440-4694-9c7d-792884c08b9c" providerId="ADAL" clId="{3A17AF7F-858B-4AB1-A500-5ACF4155F568}" dt="2025-06-18T07:18:03.848" v="1589" actId="2711"/>
          <ac:spMkLst>
            <pc:docMk/>
            <pc:sldMk cId="1591007910" sldId="1527"/>
            <ac:spMk id="7" creationId="{AF959588-7227-81B1-D615-B81013E57F8E}"/>
          </ac:spMkLst>
        </pc:spChg>
        <pc:spChg chg="mod">
          <ac:chgData name="Krishna Sharma" userId="daa697d5-8440-4694-9c7d-792884c08b9c" providerId="ADAL" clId="{3A17AF7F-858B-4AB1-A500-5ACF4155F568}" dt="2025-06-18T07:18:03.848" v="1589" actId="2711"/>
          <ac:spMkLst>
            <pc:docMk/>
            <pc:sldMk cId="1591007910" sldId="1527"/>
            <ac:spMk id="8" creationId="{0903EDC0-1E16-EBB2-9318-5141C3EDD3C2}"/>
          </ac:spMkLst>
        </pc:spChg>
        <pc:spChg chg="mod">
          <ac:chgData name="Krishna Sharma" userId="daa697d5-8440-4694-9c7d-792884c08b9c" providerId="ADAL" clId="{3A17AF7F-858B-4AB1-A500-5ACF4155F568}" dt="2025-06-18T10:41:25.390" v="1924" actId="1036"/>
          <ac:spMkLst>
            <pc:docMk/>
            <pc:sldMk cId="1591007910" sldId="1527"/>
            <ac:spMk id="9" creationId="{733AD0C6-5E00-08EE-ABF1-126783C62442}"/>
          </ac:spMkLst>
        </pc:spChg>
        <pc:spChg chg="mod">
          <ac:chgData name="Krishna Sharma" userId="daa697d5-8440-4694-9c7d-792884c08b9c" providerId="ADAL" clId="{3A17AF7F-858B-4AB1-A500-5ACF4155F568}" dt="2025-06-18T10:41:25.390" v="1924" actId="1036"/>
          <ac:spMkLst>
            <pc:docMk/>
            <pc:sldMk cId="1591007910" sldId="1527"/>
            <ac:spMk id="10" creationId="{8E694FB5-E15F-7444-96D4-8F9F692499F4}"/>
          </ac:spMkLst>
        </pc:spChg>
      </pc:sldChg>
      <pc:sldChg chg="modSp mod">
        <pc:chgData name="Krishna Sharma" userId="daa697d5-8440-4694-9c7d-792884c08b9c" providerId="ADAL" clId="{3A17AF7F-858B-4AB1-A500-5ACF4155F568}" dt="2025-06-18T09:26:50.273" v="1651" actId="2711"/>
        <pc:sldMkLst>
          <pc:docMk/>
          <pc:sldMk cId="642286714" sldId="1549"/>
        </pc:sldMkLst>
        <pc:spChg chg="mod">
          <ac:chgData name="Krishna Sharma" userId="daa697d5-8440-4694-9c7d-792884c08b9c" providerId="ADAL" clId="{3A17AF7F-858B-4AB1-A500-5ACF4155F568}" dt="2025-06-18T09:26:50.273" v="1651" actId="2711"/>
          <ac:spMkLst>
            <pc:docMk/>
            <pc:sldMk cId="642286714" sldId="1549"/>
            <ac:spMk id="2" creationId="{E3D3B22D-419D-C154-28E1-F7B67DACA09B}"/>
          </ac:spMkLst>
        </pc:spChg>
        <pc:spChg chg="mod">
          <ac:chgData name="Krishna Sharma" userId="daa697d5-8440-4694-9c7d-792884c08b9c" providerId="ADAL" clId="{3A17AF7F-858B-4AB1-A500-5ACF4155F568}" dt="2025-06-18T09:26:50.273" v="1651" actId="2711"/>
          <ac:spMkLst>
            <pc:docMk/>
            <pc:sldMk cId="642286714" sldId="1549"/>
            <ac:spMk id="5" creationId="{6B2C6280-069B-7365-8E23-6941956A8DA0}"/>
          </ac:spMkLst>
        </pc:spChg>
        <pc:spChg chg="mod">
          <ac:chgData name="Krishna Sharma" userId="daa697d5-8440-4694-9c7d-792884c08b9c" providerId="ADAL" clId="{3A17AF7F-858B-4AB1-A500-5ACF4155F568}" dt="2025-06-18T09:26:50.273" v="1651" actId="2711"/>
          <ac:spMkLst>
            <pc:docMk/>
            <pc:sldMk cId="642286714" sldId="1549"/>
            <ac:spMk id="7" creationId="{D72CD078-7119-EDC2-A5A2-AAE749144B1F}"/>
          </ac:spMkLst>
        </pc:spChg>
        <pc:spChg chg="mod">
          <ac:chgData name="Krishna Sharma" userId="daa697d5-8440-4694-9c7d-792884c08b9c" providerId="ADAL" clId="{3A17AF7F-858B-4AB1-A500-5ACF4155F568}" dt="2025-06-18T09:26:50.273" v="1651" actId="2711"/>
          <ac:spMkLst>
            <pc:docMk/>
            <pc:sldMk cId="642286714" sldId="1549"/>
            <ac:spMk id="10" creationId="{02BC6D5B-A0B1-E9CE-93DA-C29CC71FDCEF}"/>
          </ac:spMkLst>
        </pc:spChg>
      </pc:sldChg>
      <pc:sldChg chg="modSp mod">
        <pc:chgData name="Krishna Sharma" userId="daa697d5-8440-4694-9c7d-792884c08b9c" providerId="ADAL" clId="{3A17AF7F-858B-4AB1-A500-5ACF4155F568}" dt="2025-06-18T09:26:24.534" v="1649" actId="2711"/>
        <pc:sldMkLst>
          <pc:docMk/>
          <pc:sldMk cId="1224979801" sldId="1556"/>
        </pc:sldMkLst>
        <pc:spChg chg="mod">
          <ac:chgData name="Krishna Sharma" userId="daa697d5-8440-4694-9c7d-792884c08b9c" providerId="ADAL" clId="{3A17AF7F-858B-4AB1-A500-5ACF4155F568}" dt="2025-06-18T09:26:24.534" v="1649" actId="2711"/>
          <ac:spMkLst>
            <pc:docMk/>
            <pc:sldMk cId="1224979801" sldId="1556"/>
            <ac:spMk id="2" creationId="{32BBCCF7-D296-5D64-6213-A270C8512CA6}"/>
          </ac:spMkLst>
        </pc:spChg>
        <pc:spChg chg="mod">
          <ac:chgData name="Krishna Sharma" userId="daa697d5-8440-4694-9c7d-792884c08b9c" providerId="ADAL" clId="{3A17AF7F-858B-4AB1-A500-5ACF4155F568}" dt="2025-06-18T09:26:24.534" v="1649" actId="2711"/>
          <ac:spMkLst>
            <pc:docMk/>
            <pc:sldMk cId="1224979801" sldId="1556"/>
            <ac:spMk id="8" creationId="{1524A7F3-7AC5-F355-B534-D94B4843B137}"/>
          </ac:spMkLst>
        </pc:spChg>
        <pc:spChg chg="mod">
          <ac:chgData name="Krishna Sharma" userId="daa697d5-8440-4694-9c7d-792884c08b9c" providerId="ADAL" clId="{3A17AF7F-858B-4AB1-A500-5ACF4155F568}" dt="2025-06-18T09:26:24.534" v="1649" actId="2711"/>
          <ac:spMkLst>
            <pc:docMk/>
            <pc:sldMk cId="1224979801" sldId="1556"/>
            <ac:spMk id="13" creationId="{F7CC5562-5C8B-433B-CE1B-E0B765B819DC}"/>
          </ac:spMkLst>
        </pc:spChg>
        <pc:spChg chg="mod">
          <ac:chgData name="Krishna Sharma" userId="daa697d5-8440-4694-9c7d-792884c08b9c" providerId="ADAL" clId="{3A17AF7F-858B-4AB1-A500-5ACF4155F568}" dt="2025-06-18T09:26:24.534" v="1649" actId="2711"/>
          <ac:spMkLst>
            <pc:docMk/>
            <pc:sldMk cId="1224979801" sldId="1556"/>
            <ac:spMk id="14" creationId="{58C2A108-29B5-69AF-E01F-A382E39127F8}"/>
          </ac:spMkLst>
        </pc:spChg>
        <pc:spChg chg="mod">
          <ac:chgData name="Krishna Sharma" userId="daa697d5-8440-4694-9c7d-792884c08b9c" providerId="ADAL" clId="{3A17AF7F-858B-4AB1-A500-5ACF4155F568}" dt="2025-06-18T09:26:24.534" v="1649" actId="2711"/>
          <ac:spMkLst>
            <pc:docMk/>
            <pc:sldMk cId="1224979801" sldId="1556"/>
            <ac:spMk id="15" creationId="{CFD393CB-5C7D-F12E-4E47-A8B817B3C0D4}"/>
          </ac:spMkLst>
        </pc:spChg>
        <pc:spChg chg="mod">
          <ac:chgData name="Krishna Sharma" userId="daa697d5-8440-4694-9c7d-792884c08b9c" providerId="ADAL" clId="{3A17AF7F-858B-4AB1-A500-5ACF4155F568}" dt="2025-06-18T09:26:24.534" v="1649" actId="2711"/>
          <ac:spMkLst>
            <pc:docMk/>
            <pc:sldMk cId="1224979801" sldId="1556"/>
            <ac:spMk id="16" creationId="{23B1879D-DA7E-D9A1-FE84-71FA52984ECB}"/>
          </ac:spMkLst>
        </pc:spChg>
        <pc:spChg chg="mod">
          <ac:chgData name="Krishna Sharma" userId="daa697d5-8440-4694-9c7d-792884c08b9c" providerId="ADAL" clId="{3A17AF7F-858B-4AB1-A500-5ACF4155F568}" dt="2025-06-18T09:26:24.534" v="1649" actId="2711"/>
          <ac:spMkLst>
            <pc:docMk/>
            <pc:sldMk cId="1224979801" sldId="1556"/>
            <ac:spMk id="23" creationId="{665FFEA0-0FEC-4E94-9238-C7484E715709}"/>
          </ac:spMkLst>
        </pc:spChg>
        <pc:spChg chg="mod">
          <ac:chgData name="Krishna Sharma" userId="daa697d5-8440-4694-9c7d-792884c08b9c" providerId="ADAL" clId="{3A17AF7F-858B-4AB1-A500-5ACF4155F568}" dt="2025-06-18T09:26:24.534" v="1649" actId="2711"/>
          <ac:spMkLst>
            <pc:docMk/>
            <pc:sldMk cId="1224979801" sldId="1556"/>
            <ac:spMk id="24" creationId="{9BE3AA97-1018-38C4-7877-B8731D5BBA26}"/>
          </ac:spMkLst>
        </pc:spChg>
        <pc:spChg chg="mod">
          <ac:chgData name="Krishna Sharma" userId="daa697d5-8440-4694-9c7d-792884c08b9c" providerId="ADAL" clId="{3A17AF7F-858B-4AB1-A500-5ACF4155F568}" dt="2025-06-18T09:26:24.534" v="1649" actId="2711"/>
          <ac:spMkLst>
            <pc:docMk/>
            <pc:sldMk cId="1224979801" sldId="1556"/>
            <ac:spMk id="29" creationId="{5B741A76-0539-1BAA-FC83-5DE1AC8C71A2}"/>
          </ac:spMkLst>
        </pc:spChg>
        <pc:spChg chg="mod">
          <ac:chgData name="Krishna Sharma" userId="daa697d5-8440-4694-9c7d-792884c08b9c" providerId="ADAL" clId="{3A17AF7F-858B-4AB1-A500-5ACF4155F568}" dt="2025-06-18T09:26:24.534" v="1649" actId="2711"/>
          <ac:spMkLst>
            <pc:docMk/>
            <pc:sldMk cId="1224979801" sldId="1556"/>
            <ac:spMk id="32" creationId="{57C25C15-652F-C238-E1DA-18AF36D49993}"/>
          </ac:spMkLst>
        </pc:spChg>
      </pc:sldChg>
      <pc:sldChg chg="modSp mod">
        <pc:chgData name="Krishna Sharma" userId="daa697d5-8440-4694-9c7d-792884c08b9c" providerId="ADAL" clId="{3A17AF7F-858B-4AB1-A500-5ACF4155F568}" dt="2025-06-18T09:26:40.048" v="1650" actId="2711"/>
        <pc:sldMkLst>
          <pc:docMk/>
          <pc:sldMk cId="3287906801" sldId="1557"/>
        </pc:sldMkLst>
        <pc:spChg chg="mod">
          <ac:chgData name="Krishna Sharma" userId="daa697d5-8440-4694-9c7d-792884c08b9c" providerId="ADAL" clId="{3A17AF7F-858B-4AB1-A500-5ACF4155F568}" dt="2025-06-18T09:26:40.048" v="1650" actId="2711"/>
          <ac:spMkLst>
            <pc:docMk/>
            <pc:sldMk cId="3287906801" sldId="1557"/>
            <ac:spMk id="8" creationId="{EA16F4B3-1E10-272A-D585-16B85BECD57E}"/>
          </ac:spMkLst>
        </pc:spChg>
        <pc:spChg chg="mod">
          <ac:chgData name="Krishna Sharma" userId="daa697d5-8440-4694-9c7d-792884c08b9c" providerId="ADAL" clId="{3A17AF7F-858B-4AB1-A500-5ACF4155F568}" dt="2025-06-18T09:26:40.048" v="1650" actId="2711"/>
          <ac:spMkLst>
            <pc:docMk/>
            <pc:sldMk cId="3287906801" sldId="1557"/>
            <ac:spMk id="12" creationId="{DDC4AA0A-5162-5D51-28EA-FE44B6BDBE27}"/>
          </ac:spMkLst>
        </pc:spChg>
        <pc:spChg chg="mod">
          <ac:chgData name="Krishna Sharma" userId="daa697d5-8440-4694-9c7d-792884c08b9c" providerId="ADAL" clId="{3A17AF7F-858B-4AB1-A500-5ACF4155F568}" dt="2025-06-18T09:26:40.048" v="1650" actId="2711"/>
          <ac:spMkLst>
            <pc:docMk/>
            <pc:sldMk cId="3287906801" sldId="1557"/>
            <ac:spMk id="13" creationId="{E6DF3BF4-DF0D-9CC0-67C8-6B9DBCDFC763}"/>
          </ac:spMkLst>
        </pc:spChg>
        <pc:spChg chg="mod">
          <ac:chgData name="Krishna Sharma" userId="daa697d5-8440-4694-9c7d-792884c08b9c" providerId="ADAL" clId="{3A17AF7F-858B-4AB1-A500-5ACF4155F568}" dt="2025-06-18T09:26:40.048" v="1650" actId="2711"/>
          <ac:spMkLst>
            <pc:docMk/>
            <pc:sldMk cId="3287906801" sldId="1557"/>
            <ac:spMk id="14" creationId="{076FAA79-9B50-A93A-3A1F-8AEEACE567FB}"/>
          </ac:spMkLst>
        </pc:spChg>
        <pc:spChg chg="mod">
          <ac:chgData name="Krishna Sharma" userId="daa697d5-8440-4694-9c7d-792884c08b9c" providerId="ADAL" clId="{3A17AF7F-858B-4AB1-A500-5ACF4155F568}" dt="2025-06-18T09:26:40.048" v="1650" actId="2711"/>
          <ac:spMkLst>
            <pc:docMk/>
            <pc:sldMk cId="3287906801" sldId="1557"/>
            <ac:spMk id="15" creationId="{4BA5DC5B-C609-B67A-47B7-9875E158AFCF}"/>
          </ac:spMkLst>
        </pc:spChg>
        <pc:spChg chg="mod">
          <ac:chgData name="Krishna Sharma" userId="daa697d5-8440-4694-9c7d-792884c08b9c" providerId="ADAL" clId="{3A17AF7F-858B-4AB1-A500-5ACF4155F568}" dt="2025-06-18T09:26:40.048" v="1650" actId="2711"/>
          <ac:spMkLst>
            <pc:docMk/>
            <pc:sldMk cId="3287906801" sldId="1557"/>
            <ac:spMk id="24" creationId="{B5381202-728A-AC9E-3156-E419DD41FFCD}"/>
          </ac:spMkLst>
        </pc:spChg>
        <pc:spChg chg="mod">
          <ac:chgData name="Krishna Sharma" userId="daa697d5-8440-4694-9c7d-792884c08b9c" providerId="ADAL" clId="{3A17AF7F-858B-4AB1-A500-5ACF4155F568}" dt="2025-06-18T09:26:40.048" v="1650" actId="2711"/>
          <ac:spMkLst>
            <pc:docMk/>
            <pc:sldMk cId="3287906801" sldId="1557"/>
            <ac:spMk id="26" creationId="{779BF5A9-BBD2-61D1-7387-75A7DAFCF993}"/>
          </ac:spMkLst>
        </pc:spChg>
        <pc:spChg chg="mod">
          <ac:chgData name="Krishna Sharma" userId="daa697d5-8440-4694-9c7d-792884c08b9c" providerId="ADAL" clId="{3A17AF7F-858B-4AB1-A500-5ACF4155F568}" dt="2025-06-18T09:26:40.048" v="1650" actId="2711"/>
          <ac:spMkLst>
            <pc:docMk/>
            <pc:sldMk cId="3287906801" sldId="1557"/>
            <ac:spMk id="30" creationId="{20ACC6AA-8FFB-0E16-C464-C29531F8AD6B}"/>
          </ac:spMkLst>
        </pc:spChg>
        <pc:spChg chg="mod">
          <ac:chgData name="Krishna Sharma" userId="daa697d5-8440-4694-9c7d-792884c08b9c" providerId="ADAL" clId="{3A17AF7F-858B-4AB1-A500-5ACF4155F568}" dt="2025-06-18T09:26:40.048" v="1650" actId="2711"/>
          <ac:spMkLst>
            <pc:docMk/>
            <pc:sldMk cId="3287906801" sldId="1557"/>
            <ac:spMk id="31" creationId="{96C43664-FFBE-6879-3BB1-CA9F6B64AE39}"/>
          </ac:spMkLst>
        </pc:spChg>
        <pc:spChg chg="mod">
          <ac:chgData name="Krishna Sharma" userId="daa697d5-8440-4694-9c7d-792884c08b9c" providerId="ADAL" clId="{3A17AF7F-858B-4AB1-A500-5ACF4155F568}" dt="2025-06-18T09:26:40.048" v="1650" actId="2711"/>
          <ac:spMkLst>
            <pc:docMk/>
            <pc:sldMk cId="3287906801" sldId="1557"/>
            <ac:spMk id="32" creationId="{BC924470-C516-674E-F91C-D60B746E7312}"/>
          </ac:spMkLst>
        </pc:spChg>
      </pc:sldChg>
      <pc:sldChg chg="modSp mod">
        <pc:chgData name="Krishna Sharma" userId="daa697d5-8440-4694-9c7d-792884c08b9c" providerId="ADAL" clId="{3A17AF7F-858B-4AB1-A500-5ACF4155F568}" dt="2025-06-18T09:28:22.934" v="1658" actId="20577"/>
        <pc:sldMkLst>
          <pc:docMk/>
          <pc:sldMk cId="3774638054" sldId="1558"/>
        </pc:sldMkLst>
        <pc:spChg chg="mod">
          <ac:chgData name="Krishna Sharma" userId="daa697d5-8440-4694-9c7d-792884c08b9c" providerId="ADAL" clId="{3A17AF7F-858B-4AB1-A500-5ACF4155F568}" dt="2025-06-18T09:28:04.643" v="1655" actId="2711"/>
          <ac:spMkLst>
            <pc:docMk/>
            <pc:sldMk cId="3774638054" sldId="1558"/>
            <ac:spMk id="3" creationId="{EC013EF4-4E2A-1818-66B5-611BD883213D}"/>
          </ac:spMkLst>
        </pc:spChg>
        <pc:spChg chg="mod">
          <ac:chgData name="Krishna Sharma" userId="daa697d5-8440-4694-9c7d-792884c08b9c" providerId="ADAL" clId="{3A17AF7F-858B-4AB1-A500-5ACF4155F568}" dt="2025-06-18T09:28:04.643" v="1655" actId="2711"/>
          <ac:spMkLst>
            <pc:docMk/>
            <pc:sldMk cId="3774638054" sldId="1558"/>
            <ac:spMk id="11" creationId="{A33332DB-8963-4C5A-FAF3-2045E5C3930A}"/>
          </ac:spMkLst>
        </pc:spChg>
        <pc:spChg chg="mod">
          <ac:chgData name="Krishna Sharma" userId="daa697d5-8440-4694-9c7d-792884c08b9c" providerId="ADAL" clId="{3A17AF7F-858B-4AB1-A500-5ACF4155F568}" dt="2025-06-18T09:28:19.214" v="1657" actId="20577"/>
          <ac:spMkLst>
            <pc:docMk/>
            <pc:sldMk cId="3774638054" sldId="1558"/>
            <ac:spMk id="12" creationId="{842568EF-B4AC-C13D-083C-B17D6E13ECD3}"/>
          </ac:spMkLst>
        </pc:spChg>
        <pc:spChg chg="mod">
          <ac:chgData name="Krishna Sharma" userId="daa697d5-8440-4694-9c7d-792884c08b9c" providerId="ADAL" clId="{3A17AF7F-858B-4AB1-A500-5ACF4155F568}" dt="2025-06-18T09:28:15.074" v="1656" actId="20577"/>
          <ac:spMkLst>
            <pc:docMk/>
            <pc:sldMk cId="3774638054" sldId="1558"/>
            <ac:spMk id="15" creationId="{DED3A635-1D53-949F-AFFF-D02086FE30BF}"/>
          </ac:spMkLst>
        </pc:spChg>
        <pc:spChg chg="mod">
          <ac:chgData name="Krishna Sharma" userId="daa697d5-8440-4694-9c7d-792884c08b9c" providerId="ADAL" clId="{3A17AF7F-858B-4AB1-A500-5ACF4155F568}" dt="2025-06-18T09:28:04.643" v="1655" actId="2711"/>
          <ac:spMkLst>
            <pc:docMk/>
            <pc:sldMk cId="3774638054" sldId="1558"/>
            <ac:spMk id="16" creationId="{8FE68A80-2DAF-B55D-60FB-1F21366940F6}"/>
          </ac:spMkLst>
        </pc:spChg>
        <pc:spChg chg="mod">
          <ac:chgData name="Krishna Sharma" userId="daa697d5-8440-4694-9c7d-792884c08b9c" providerId="ADAL" clId="{3A17AF7F-858B-4AB1-A500-5ACF4155F568}" dt="2025-06-18T09:28:22.934" v="1658" actId="20577"/>
          <ac:spMkLst>
            <pc:docMk/>
            <pc:sldMk cId="3774638054" sldId="1558"/>
            <ac:spMk id="18" creationId="{9F11255E-EC4E-8EB5-24F9-B9E68474B839}"/>
          </ac:spMkLst>
        </pc:spChg>
        <pc:spChg chg="mod">
          <ac:chgData name="Krishna Sharma" userId="daa697d5-8440-4694-9c7d-792884c08b9c" providerId="ADAL" clId="{3A17AF7F-858B-4AB1-A500-5ACF4155F568}" dt="2025-06-18T09:28:04.643" v="1655" actId="2711"/>
          <ac:spMkLst>
            <pc:docMk/>
            <pc:sldMk cId="3774638054" sldId="1558"/>
            <ac:spMk id="19" creationId="{11148D30-1D77-287C-CDA3-248294D2A3EB}"/>
          </ac:spMkLst>
        </pc:spChg>
        <pc:spChg chg="mod">
          <ac:chgData name="Krishna Sharma" userId="daa697d5-8440-4694-9c7d-792884c08b9c" providerId="ADAL" clId="{3A17AF7F-858B-4AB1-A500-5ACF4155F568}" dt="2025-06-18T09:28:04.643" v="1655" actId="2711"/>
          <ac:spMkLst>
            <pc:docMk/>
            <pc:sldMk cId="3774638054" sldId="1558"/>
            <ac:spMk id="20" creationId="{8E823690-1303-CF6D-1960-0850FAF4A38B}"/>
          </ac:spMkLst>
        </pc:spChg>
        <pc:spChg chg="mod">
          <ac:chgData name="Krishna Sharma" userId="daa697d5-8440-4694-9c7d-792884c08b9c" providerId="ADAL" clId="{3A17AF7F-858B-4AB1-A500-5ACF4155F568}" dt="2025-06-18T09:28:04.643" v="1655" actId="2711"/>
          <ac:spMkLst>
            <pc:docMk/>
            <pc:sldMk cId="3774638054" sldId="1558"/>
            <ac:spMk id="21" creationId="{D3298DBC-BA41-5F47-F060-8A3C64836CDC}"/>
          </ac:spMkLst>
        </pc:spChg>
        <pc:spChg chg="mod">
          <ac:chgData name="Krishna Sharma" userId="daa697d5-8440-4694-9c7d-792884c08b9c" providerId="ADAL" clId="{3A17AF7F-858B-4AB1-A500-5ACF4155F568}" dt="2025-06-18T09:28:04.643" v="1655" actId="2711"/>
          <ac:spMkLst>
            <pc:docMk/>
            <pc:sldMk cId="3774638054" sldId="1558"/>
            <ac:spMk id="42" creationId="{4B169763-9C36-3CC7-0554-6BB47831C52A}"/>
          </ac:spMkLst>
        </pc:spChg>
        <pc:spChg chg="mod">
          <ac:chgData name="Krishna Sharma" userId="daa697d5-8440-4694-9c7d-792884c08b9c" providerId="ADAL" clId="{3A17AF7F-858B-4AB1-A500-5ACF4155F568}" dt="2025-06-18T09:28:04.643" v="1655" actId="2711"/>
          <ac:spMkLst>
            <pc:docMk/>
            <pc:sldMk cId="3774638054" sldId="1558"/>
            <ac:spMk id="43" creationId="{CA3E7513-32C6-99B7-A16A-F8B942EF4419}"/>
          </ac:spMkLst>
        </pc:spChg>
        <pc:spChg chg="mod">
          <ac:chgData name="Krishna Sharma" userId="daa697d5-8440-4694-9c7d-792884c08b9c" providerId="ADAL" clId="{3A17AF7F-858B-4AB1-A500-5ACF4155F568}" dt="2025-06-18T09:28:04.643" v="1655" actId="2711"/>
          <ac:spMkLst>
            <pc:docMk/>
            <pc:sldMk cId="3774638054" sldId="1558"/>
            <ac:spMk id="45" creationId="{40B33B84-FB8B-1469-54D3-1A0BFDF4F466}"/>
          </ac:spMkLst>
        </pc:spChg>
      </pc:sldChg>
      <pc:sldChg chg="addSp delSp modSp add mod">
        <pc:chgData name="Krishna Sharma" userId="daa697d5-8440-4694-9c7d-792884c08b9c" providerId="ADAL" clId="{3A17AF7F-858B-4AB1-A500-5ACF4155F568}" dt="2025-06-18T06:31:30.389" v="1425"/>
        <pc:sldMkLst>
          <pc:docMk/>
          <pc:sldMk cId="4102706380" sldId="1559"/>
        </pc:sldMkLst>
        <pc:spChg chg="add del mod">
          <ac:chgData name="Krishna Sharma" userId="daa697d5-8440-4694-9c7d-792884c08b9c" providerId="ADAL" clId="{3A17AF7F-858B-4AB1-A500-5ACF4155F568}" dt="2025-06-18T06:25:17.007" v="1330"/>
          <ac:spMkLst>
            <pc:docMk/>
            <pc:sldMk cId="4102706380" sldId="1559"/>
            <ac:spMk id="4" creationId="{44F1D829-104B-6832-305F-C7DEFB4EDDB1}"/>
          </ac:spMkLst>
        </pc:spChg>
        <pc:spChg chg="del">
          <ac:chgData name="Krishna Sharma" userId="daa697d5-8440-4694-9c7d-792884c08b9c" providerId="ADAL" clId="{3A17AF7F-858B-4AB1-A500-5ACF4155F568}" dt="2025-06-18T06:25:14.620" v="1329" actId="478"/>
          <ac:spMkLst>
            <pc:docMk/>
            <pc:sldMk cId="4102706380" sldId="1559"/>
            <ac:spMk id="9" creationId="{84CC936E-32BA-A06C-BE5F-85C123E32F9F}"/>
          </ac:spMkLst>
        </pc:spChg>
        <pc:graphicFrameChg chg="add mod">
          <ac:chgData name="Krishna Sharma" userId="daa697d5-8440-4694-9c7d-792884c08b9c" providerId="ADAL" clId="{3A17AF7F-858B-4AB1-A500-5ACF4155F568}" dt="2025-06-18T06:31:30.389" v="1425"/>
          <ac:graphicFrameMkLst>
            <pc:docMk/>
            <pc:sldMk cId="4102706380" sldId="1559"/>
            <ac:graphicFrameMk id="5" creationId="{BEFA0BAB-37C3-30AE-0B27-9B7FC3370F5B}"/>
          </ac:graphicFrameMkLst>
        </pc:graphicFrameChg>
      </pc:sldChg>
      <pc:sldChg chg="addSp delSp modSp add mod modNotesTx">
        <pc:chgData name="Krishna Sharma" userId="daa697d5-8440-4694-9c7d-792884c08b9c" providerId="ADAL" clId="{3A17AF7F-858B-4AB1-A500-5ACF4155F568}" dt="2025-06-18T10:23:43.638" v="1810" actId="20577"/>
        <pc:sldMkLst>
          <pc:docMk/>
          <pc:sldMk cId="3674280904" sldId="1560"/>
        </pc:sldMkLst>
        <pc:spChg chg="add">
          <ac:chgData name="Krishna Sharma" userId="daa697d5-8440-4694-9c7d-792884c08b9c" providerId="ADAL" clId="{3A17AF7F-858B-4AB1-A500-5ACF4155F568}" dt="2025-06-18T10:14:06.139" v="1720"/>
          <ac:spMkLst>
            <pc:docMk/>
            <pc:sldMk cId="3674280904" sldId="1560"/>
            <ac:spMk id="3" creationId="{AE889C55-7F54-7592-8285-ADBDBC070EAA}"/>
          </ac:spMkLst>
        </pc:spChg>
        <pc:spChg chg="add">
          <ac:chgData name="Krishna Sharma" userId="daa697d5-8440-4694-9c7d-792884c08b9c" providerId="ADAL" clId="{3A17AF7F-858B-4AB1-A500-5ACF4155F568}" dt="2025-06-18T10:14:09.330" v="1721"/>
          <ac:spMkLst>
            <pc:docMk/>
            <pc:sldMk cId="3674280904" sldId="1560"/>
            <ac:spMk id="5" creationId="{68829BF4-CEBB-5654-121B-C8EDFA496BAC}"/>
          </ac:spMkLst>
        </pc:spChg>
        <pc:spChg chg="add">
          <ac:chgData name="Krishna Sharma" userId="daa697d5-8440-4694-9c7d-792884c08b9c" providerId="ADAL" clId="{3A17AF7F-858B-4AB1-A500-5ACF4155F568}" dt="2025-06-18T10:14:32.445" v="1726"/>
          <ac:spMkLst>
            <pc:docMk/>
            <pc:sldMk cId="3674280904" sldId="1560"/>
            <ac:spMk id="7" creationId="{751EC75A-327F-1AD0-C8B5-52DFF071740E}"/>
          </ac:spMkLst>
        </pc:spChg>
        <pc:spChg chg="del">
          <ac:chgData name="Krishna Sharma" userId="daa697d5-8440-4694-9c7d-792884c08b9c" providerId="ADAL" clId="{3A17AF7F-858B-4AB1-A500-5ACF4155F568}" dt="2025-06-18T10:17:51.151" v="1764" actId="478"/>
          <ac:spMkLst>
            <pc:docMk/>
            <pc:sldMk cId="3674280904" sldId="1560"/>
            <ac:spMk id="24" creationId="{C84C828F-1396-B269-66F0-31E8FA0F3A23}"/>
          </ac:spMkLst>
        </pc:spChg>
        <pc:spChg chg="mod">
          <ac:chgData name="Krishna Sharma" userId="daa697d5-8440-4694-9c7d-792884c08b9c" providerId="ADAL" clId="{3A17AF7F-858B-4AB1-A500-5ACF4155F568}" dt="2025-06-18T10:20:03.743" v="1788" actId="5793"/>
          <ac:spMkLst>
            <pc:docMk/>
            <pc:sldMk cId="3674280904" sldId="1560"/>
            <ac:spMk id="29" creationId="{E1C1B79C-53C6-5FDB-A712-D516967AC69E}"/>
          </ac:spMkLst>
        </pc:spChg>
        <pc:picChg chg="add del">
          <ac:chgData name="Krishna Sharma" userId="daa697d5-8440-4694-9c7d-792884c08b9c" providerId="ADAL" clId="{3A17AF7F-858B-4AB1-A500-5ACF4155F568}" dt="2025-06-18T10:12:42.597" v="1704" actId="478"/>
          <ac:picMkLst>
            <pc:docMk/>
            <pc:sldMk cId="3674280904" sldId="1560"/>
            <ac:picMk id="2" creationId="{155E7437-2678-E0FF-9338-B215E79364AD}"/>
          </ac:picMkLst>
        </pc:picChg>
        <pc:picChg chg="add del mod">
          <ac:chgData name="Krishna Sharma" userId="daa697d5-8440-4694-9c7d-792884c08b9c" providerId="ADAL" clId="{3A17AF7F-858B-4AB1-A500-5ACF4155F568}" dt="2025-06-18T10:20:05.571" v="1789" actId="478"/>
          <ac:picMkLst>
            <pc:docMk/>
            <pc:sldMk cId="3674280904" sldId="1560"/>
            <ac:picMk id="10" creationId="{A3D73A8D-0ACF-B80D-E66E-7FCF7581490A}"/>
          </ac:picMkLst>
        </pc:picChg>
        <pc:picChg chg="add mod">
          <ac:chgData name="Krishna Sharma" userId="daa697d5-8440-4694-9c7d-792884c08b9c" providerId="ADAL" clId="{3A17AF7F-858B-4AB1-A500-5ACF4155F568}" dt="2025-06-18T10:20:15.473" v="1790"/>
          <ac:picMkLst>
            <pc:docMk/>
            <pc:sldMk cId="3674280904" sldId="1560"/>
            <ac:picMk id="11" creationId="{52754ADA-9D41-1590-8CAF-862945B671A6}"/>
          </ac:picMkLst>
        </pc:picChg>
      </pc:sldChg>
      <pc:sldChg chg="modSp add mod modNotesTx">
        <pc:chgData name="Krishna Sharma" userId="daa697d5-8440-4694-9c7d-792884c08b9c" providerId="ADAL" clId="{3A17AF7F-858B-4AB1-A500-5ACF4155F568}" dt="2025-06-18T10:23:21.149" v="1809"/>
        <pc:sldMkLst>
          <pc:docMk/>
          <pc:sldMk cId="2369434521" sldId="1561"/>
        </pc:sldMkLst>
        <pc:spChg chg="mod">
          <ac:chgData name="Krishna Sharma" userId="daa697d5-8440-4694-9c7d-792884c08b9c" providerId="ADAL" clId="{3A17AF7F-858B-4AB1-A500-5ACF4155F568}" dt="2025-06-18T10:23:21.149" v="1809"/>
          <ac:spMkLst>
            <pc:docMk/>
            <pc:sldMk cId="2369434521" sldId="1561"/>
            <ac:spMk id="29" creationId="{A9B7FFA9-9F7A-3EDB-715B-3B2E3C6382BF}"/>
          </ac:spMkLst>
        </pc:spChg>
      </pc:sldChg>
      <pc:sldChg chg="addSp modSp add mod modNotesTx">
        <pc:chgData name="Krishna Sharma" userId="daa697d5-8440-4694-9c7d-792884c08b9c" providerId="ADAL" clId="{3A17AF7F-858B-4AB1-A500-5ACF4155F568}" dt="2025-06-18T10:38:05.849" v="1914" actId="14100"/>
        <pc:sldMkLst>
          <pc:docMk/>
          <pc:sldMk cId="1668943306" sldId="1562"/>
        </pc:sldMkLst>
        <pc:spChg chg="add">
          <ac:chgData name="Krishna Sharma" userId="daa697d5-8440-4694-9c7d-792884c08b9c" providerId="ADAL" clId="{3A17AF7F-858B-4AB1-A500-5ACF4155F568}" dt="2025-06-18T10:32:16.349" v="1841"/>
          <ac:spMkLst>
            <pc:docMk/>
            <pc:sldMk cId="1668943306" sldId="1562"/>
            <ac:spMk id="2" creationId="{E25AEFDF-ED2C-42B3-2C39-FE5021E84572}"/>
          </ac:spMkLst>
        </pc:spChg>
        <pc:spChg chg="mod">
          <ac:chgData name="Krishna Sharma" userId="daa697d5-8440-4694-9c7d-792884c08b9c" providerId="ADAL" clId="{3A17AF7F-858B-4AB1-A500-5ACF4155F568}" dt="2025-06-18T10:38:05.849" v="1914" actId="14100"/>
          <ac:spMkLst>
            <pc:docMk/>
            <pc:sldMk cId="1668943306" sldId="1562"/>
            <ac:spMk id="29" creationId="{AF8E3393-29A3-173E-712E-2048913BF15D}"/>
          </ac:spMkLst>
        </pc:spChg>
      </pc:sldChg>
    </pc:docChg>
  </pc:docChgLst>
  <pc:docChgLst>
    <pc:chgData name="Divya Rank" userId="8a86f94f-bc51-45b1-baba-7f5d30607298" providerId="ADAL" clId="{46436DBC-C3C7-4976-88D1-806EBA5A7012}"/>
    <pc:docChg chg="custSel modSld">
      <pc:chgData name="Divya Rank" userId="8a86f94f-bc51-45b1-baba-7f5d30607298" providerId="ADAL" clId="{46436DBC-C3C7-4976-88D1-806EBA5A7012}" dt="2025-06-18T04:56:24.247" v="32" actId="478"/>
      <pc:docMkLst>
        <pc:docMk/>
      </pc:docMkLst>
      <pc:sldChg chg="modSp mod">
        <pc:chgData name="Divya Rank" userId="8a86f94f-bc51-45b1-baba-7f5d30607298" providerId="ADAL" clId="{46436DBC-C3C7-4976-88D1-806EBA5A7012}" dt="2025-06-18T04:52:50.748" v="16" actId="1036"/>
        <pc:sldMkLst>
          <pc:docMk/>
          <pc:sldMk cId="4195937019" sldId="1283"/>
        </pc:sldMkLst>
        <pc:spChg chg="mod">
          <ac:chgData name="Divya Rank" userId="8a86f94f-bc51-45b1-baba-7f5d30607298" providerId="ADAL" clId="{46436DBC-C3C7-4976-88D1-806EBA5A7012}" dt="2025-06-18T04:52:50.748" v="16" actId="1036"/>
          <ac:spMkLst>
            <pc:docMk/>
            <pc:sldMk cId="4195937019" sldId="1283"/>
            <ac:spMk id="2" creationId="{742E63C4-5843-AB38-C847-430624D55520}"/>
          </ac:spMkLst>
        </pc:spChg>
      </pc:sldChg>
      <pc:sldChg chg="modSp mod">
        <pc:chgData name="Divya Rank" userId="8a86f94f-bc51-45b1-baba-7f5d30607298" providerId="ADAL" clId="{46436DBC-C3C7-4976-88D1-806EBA5A7012}" dt="2025-06-18T04:53:10.868" v="26" actId="1036"/>
        <pc:sldMkLst>
          <pc:docMk/>
          <pc:sldMk cId="90865873" sldId="1284"/>
        </pc:sldMkLst>
        <pc:spChg chg="mod">
          <ac:chgData name="Divya Rank" userId="8a86f94f-bc51-45b1-baba-7f5d30607298" providerId="ADAL" clId="{46436DBC-C3C7-4976-88D1-806EBA5A7012}" dt="2025-06-18T04:53:10.868" v="26" actId="1036"/>
          <ac:spMkLst>
            <pc:docMk/>
            <pc:sldMk cId="90865873" sldId="1284"/>
            <ac:spMk id="2" creationId="{A0F0D5A5-9665-03B2-0069-6FD6E60CF2E2}"/>
          </ac:spMkLst>
        </pc:spChg>
      </pc:sldChg>
      <pc:sldChg chg="modSp mod">
        <pc:chgData name="Divya Rank" userId="8a86f94f-bc51-45b1-baba-7f5d30607298" providerId="ADAL" clId="{46436DBC-C3C7-4976-88D1-806EBA5A7012}" dt="2025-06-18T04:53:08.861" v="25" actId="1036"/>
        <pc:sldMkLst>
          <pc:docMk/>
          <pc:sldMk cId="596106588" sldId="1287"/>
        </pc:sldMkLst>
        <pc:spChg chg="mod">
          <ac:chgData name="Divya Rank" userId="8a86f94f-bc51-45b1-baba-7f5d30607298" providerId="ADAL" clId="{46436DBC-C3C7-4976-88D1-806EBA5A7012}" dt="2025-06-18T04:53:08.861" v="25" actId="1036"/>
          <ac:spMkLst>
            <pc:docMk/>
            <pc:sldMk cId="596106588" sldId="1287"/>
            <ac:spMk id="2" creationId="{15E3B3A6-D6C0-A52D-127A-B2F76C51502C}"/>
          </ac:spMkLst>
        </pc:spChg>
      </pc:sldChg>
      <pc:sldChg chg="modSp mod">
        <pc:chgData name="Divya Rank" userId="8a86f94f-bc51-45b1-baba-7f5d30607298" providerId="ADAL" clId="{46436DBC-C3C7-4976-88D1-806EBA5A7012}" dt="2025-06-18T04:53:17.761" v="31" actId="1035"/>
        <pc:sldMkLst>
          <pc:docMk/>
          <pc:sldMk cId="2250755200" sldId="1289"/>
        </pc:sldMkLst>
        <pc:spChg chg="mod">
          <ac:chgData name="Divya Rank" userId="8a86f94f-bc51-45b1-baba-7f5d30607298" providerId="ADAL" clId="{46436DBC-C3C7-4976-88D1-806EBA5A7012}" dt="2025-06-18T04:53:17.761" v="31" actId="1035"/>
          <ac:spMkLst>
            <pc:docMk/>
            <pc:sldMk cId="2250755200" sldId="1289"/>
            <ac:spMk id="2" creationId="{15A34ECB-C0A2-44A5-549A-CFA73745F49F}"/>
          </ac:spMkLst>
        </pc:spChg>
      </pc:sldChg>
      <pc:sldChg chg="modSp mod">
        <pc:chgData name="Divya Rank" userId="8a86f94f-bc51-45b1-baba-7f5d30607298" providerId="ADAL" clId="{46436DBC-C3C7-4976-88D1-806EBA5A7012}" dt="2025-06-18T04:53:04.320" v="23" actId="1036"/>
        <pc:sldMkLst>
          <pc:docMk/>
          <pc:sldMk cId="615437714" sldId="1475"/>
        </pc:sldMkLst>
        <pc:spChg chg="mod">
          <ac:chgData name="Divya Rank" userId="8a86f94f-bc51-45b1-baba-7f5d30607298" providerId="ADAL" clId="{46436DBC-C3C7-4976-88D1-806EBA5A7012}" dt="2025-06-18T04:53:04.320" v="23" actId="1036"/>
          <ac:spMkLst>
            <pc:docMk/>
            <pc:sldMk cId="615437714" sldId="1475"/>
            <ac:spMk id="2" creationId="{D0B06A2C-8377-46BD-A1E3-1BA4F17B2253}"/>
          </ac:spMkLst>
        </pc:spChg>
      </pc:sldChg>
      <pc:sldChg chg="addSp delSp modSp mod">
        <pc:chgData name="Divya Rank" userId="8a86f94f-bc51-45b1-baba-7f5d30607298" providerId="ADAL" clId="{46436DBC-C3C7-4976-88D1-806EBA5A7012}" dt="2025-06-18T04:56:24.247" v="32" actId="478"/>
        <pc:sldMkLst>
          <pc:docMk/>
          <pc:sldMk cId="662215785" sldId="1477"/>
        </pc:sldMkLst>
        <pc:spChg chg="mod">
          <ac:chgData name="Divya Rank" userId="8a86f94f-bc51-45b1-baba-7f5d30607298" providerId="ADAL" clId="{46436DBC-C3C7-4976-88D1-806EBA5A7012}" dt="2025-06-18T04:52:54.770" v="18" actId="1036"/>
          <ac:spMkLst>
            <pc:docMk/>
            <pc:sldMk cId="662215785" sldId="1477"/>
            <ac:spMk id="2" creationId="{3E543FB7-DDA2-14B7-9BAA-CFA113274770}"/>
          </ac:spMkLst>
        </pc:spChg>
        <pc:spChg chg="add mod">
          <ac:chgData name="Divya Rank" userId="8a86f94f-bc51-45b1-baba-7f5d30607298" providerId="ADAL" clId="{46436DBC-C3C7-4976-88D1-806EBA5A7012}" dt="2025-06-18T04:56:24.247" v="32" actId="478"/>
          <ac:spMkLst>
            <pc:docMk/>
            <pc:sldMk cId="662215785" sldId="1477"/>
            <ac:spMk id="11" creationId="{F2DD235E-6AB1-8BC1-0E06-2BCA5A56DEC8}"/>
          </ac:spMkLst>
        </pc:spChg>
        <pc:picChg chg="del">
          <ac:chgData name="Divya Rank" userId="8a86f94f-bc51-45b1-baba-7f5d30607298" providerId="ADAL" clId="{46436DBC-C3C7-4976-88D1-806EBA5A7012}" dt="2025-06-18T04:56:24.247" v="32" actId="478"/>
          <ac:picMkLst>
            <pc:docMk/>
            <pc:sldMk cId="662215785" sldId="1477"/>
            <ac:picMk id="9" creationId="{2F4B3023-BFEC-9BD4-90B3-60A59F796AAE}"/>
          </ac:picMkLst>
        </pc:picChg>
      </pc:sldChg>
      <pc:sldChg chg="modSp mod">
        <pc:chgData name="Divya Rank" userId="8a86f94f-bc51-45b1-baba-7f5d30607298" providerId="ADAL" clId="{46436DBC-C3C7-4976-88D1-806EBA5A7012}" dt="2025-06-18T04:53:02.486" v="22" actId="1036"/>
        <pc:sldMkLst>
          <pc:docMk/>
          <pc:sldMk cId="3809681679" sldId="1478"/>
        </pc:sldMkLst>
        <pc:spChg chg="mod">
          <ac:chgData name="Divya Rank" userId="8a86f94f-bc51-45b1-baba-7f5d30607298" providerId="ADAL" clId="{46436DBC-C3C7-4976-88D1-806EBA5A7012}" dt="2025-06-18T04:53:02.486" v="22" actId="1036"/>
          <ac:spMkLst>
            <pc:docMk/>
            <pc:sldMk cId="3809681679" sldId="1478"/>
            <ac:spMk id="2" creationId="{09B2505C-A355-EEA4-4D92-A07EA1A1D1B7}"/>
          </ac:spMkLst>
        </pc:spChg>
      </pc:sldChg>
      <pc:sldChg chg="modSp mod">
        <pc:chgData name="Divya Rank" userId="8a86f94f-bc51-45b1-baba-7f5d30607298" providerId="ADAL" clId="{46436DBC-C3C7-4976-88D1-806EBA5A7012}" dt="2025-06-18T04:53:00.280" v="20" actId="1036"/>
        <pc:sldMkLst>
          <pc:docMk/>
          <pc:sldMk cId="2015119999" sldId="1479"/>
        </pc:sldMkLst>
        <pc:spChg chg="mod">
          <ac:chgData name="Divya Rank" userId="8a86f94f-bc51-45b1-baba-7f5d30607298" providerId="ADAL" clId="{46436DBC-C3C7-4976-88D1-806EBA5A7012}" dt="2025-06-18T04:53:00.280" v="20" actId="1036"/>
          <ac:spMkLst>
            <pc:docMk/>
            <pc:sldMk cId="2015119999" sldId="1479"/>
            <ac:spMk id="2" creationId="{BA7BCB71-916B-FC72-A2DD-D72F82770D0B}"/>
          </ac:spMkLst>
        </pc:spChg>
      </pc:sldChg>
      <pc:sldChg chg="modSp mod">
        <pc:chgData name="Divya Rank" userId="8a86f94f-bc51-45b1-baba-7f5d30607298" providerId="ADAL" clId="{46436DBC-C3C7-4976-88D1-806EBA5A7012}" dt="2025-06-18T04:53:07.078" v="24" actId="1036"/>
        <pc:sldMkLst>
          <pc:docMk/>
          <pc:sldMk cId="4159238697" sldId="1482"/>
        </pc:sldMkLst>
        <pc:spChg chg="mod">
          <ac:chgData name="Divya Rank" userId="8a86f94f-bc51-45b1-baba-7f5d30607298" providerId="ADAL" clId="{46436DBC-C3C7-4976-88D1-806EBA5A7012}" dt="2025-06-18T04:53:07.078" v="24" actId="1036"/>
          <ac:spMkLst>
            <pc:docMk/>
            <pc:sldMk cId="4159238697" sldId="1482"/>
            <ac:spMk id="2" creationId="{0A7595C0-18F1-2D9B-89EA-77834E71F886}"/>
          </ac:spMkLst>
        </pc:spChg>
      </pc:sldChg>
      <pc:sldChg chg="modSp mod">
        <pc:chgData name="Divya Rank" userId="8a86f94f-bc51-45b1-baba-7f5d30607298" providerId="ADAL" clId="{46436DBC-C3C7-4976-88D1-806EBA5A7012}" dt="2025-06-18T04:53:14.664" v="29" actId="1036"/>
        <pc:sldMkLst>
          <pc:docMk/>
          <pc:sldMk cId="881074547" sldId="1483"/>
        </pc:sldMkLst>
        <pc:spChg chg="mod">
          <ac:chgData name="Divya Rank" userId="8a86f94f-bc51-45b1-baba-7f5d30607298" providerId="ADAL" clId="{46436DBC-C3C7-4976-88D1-806EBA5A7012}" dt="2025-06-18T04:53:14.664" v="29" actId="1036"/>
          <ac:spMkLst>
            <pc:docMk/>
            <pc:sldMk cId="881074547" sldId="1483"/>
            <ac:spMk id="2" creationId="{AAC1CECF-8F08-D075-838A-BA6A3C5AD9CF}"/>
          </ac:spMkLst>
        </pc:spChg>
      </pc:sldChg>
    </pc:docChg>
  </pc:docChgLst>
  <pc:docChgLst>
    <pc:chgData name="Krishna  Patel" userId="ed2200d0-4eed-40c6-ab36-78bc62005773" providerId="ADAL" clId="{E56EB9E9-1E01-4995-937D-98B474E60653}"/>
    <pc:docChg chg="undo custSel addSld delSld modSld sldOrd modMainMaster modSection">
      <pc:chgData name="Krishna  Patel" userId="ed2200d0-4eed-40c6-ab36-78bc62005773" providerId="ADAL" clId="{E56EB9E9-1E01-4995-937D-98B474E60653}" dt="2025-06-10T10:16:27.878" v="2126" actId="14100"/>
      <pc:docMkLst>
        <pc:docMk/>
      </pc:docMkLst>
      <pc:sldChg chg="modSp">
        <pc:chgData name="Krishna  Patel" userId="ed2200d0-4eed-40c6-ab36-78bc62005773" providerId="ADAL" clId="{E56EB9E9-1E01-4995-937D-98B474E60653}" dt="2025-06-10T10:10:11.101" v="2019"/>
        <pc:sldMkLst>
          <pc:docMk/>
          <pc:sldMk cId="3717373615" sldId="310"/>
        </pc:sldMkLst>
        <pc:spChg chg="mod">
          <ac:chgData name="Krishna  Patel" userId="ed2200d0-4eed-40c6-ab36-78bc62005773" providerId="ADAL" clId="{E56EB9E9-1E01-4995-937D-98B474E60653}" dt="2025-06-10T10:10:11.101" v="2019"/>
          <ac:spMkLst>
            <pc:docMk/>
            <pc:sldMk cId="3717373615" sldId="310"/>
            <ac:spMk id="16" creationId="{E245DB21-43A1-B505-1703-6FC5AA3D12C8}"/>
          </ac:spMkLst>
        </pc:spChg>
      </pc:sldChg>
      <pc:sldChg chg="modSp mod">
        <pc:chgData name="Krishna  Patel" userId="ed2200d0-4eed-40c6-ab36-78bc62005773" providerId="ADAL" clId="{E56EB9E9-1E01-4995-937D-98B474E60653}" dt="2025-06-10T10:14:15.712" v="2049" actId="2165"/>
        <pc:sldMkLst>
          <pc:docMk/>
          <pc:sldMk cId="2593176626" sldId="1272"/>
        </pc:sldMkLst>
        <pc:graphicFrameChg chg="modGraphic">
          <ac:chgData name="Krishna  Patel" userId="ed2200d0-4eed-40c6-ab36-78bc62005773" providerId="ADAL" clId="{E56EB9E9-1E01-4995-937D-98B474E60653}" dt="2025-06-10T10:14:15.712" v="2049" actId="2165"/>
          <ac:graphicFrameMkLst>
            <pc:docMk/>
            <pc:sldMk cId="2593176626" sldId="1272"/>
            <ac:graphicFrameMk id="13" creationId="{19E519E2-2134-4EF2-3A13-47DD86C33481}"/>
          </ac:graphicFrameMkLst>
        </pc:graphicFrameChg>
      </pc:sldChg>
      <pc:sldChg chg="addSp delSp modSp mod">
        <pc:chgData name="Krishna  Patel" userId="ed2200d0-4eed-40c6-ab36-78bc62005773" providerId="ADAL" clId="{E56EB9E9-1E01-4995-937D-98B474E60653}" dt="2025-06-10T10:12:36.002" v="2039"/>
        <pc:sldMkLst>
          <pc:docMk/>
          <pc:sldMk cId="2481394761" sldId="1273"/>
        </pc:sldMkLst>
        <pc:picChg chg="add mod">
          <ac:chgData name="Krishna  Patel" userId="ed2200d0-4eed-40c6-ab36-78bc62005773" providerId="ADAL" clId="{E56EB9E9-1E01-4995-937D-98B474E60653}" dt="2025-06-10T10:12:36.002" v="2039"/>
          <ac:picMkLst>
            <pc:docMk/>
            <pc:sldMk cId="2481394761" sldId="1273"/>
            <ac:picMk id="3" creationId="{F602939C-685C-C6CE-2BA0-ACAF8FFBE931}"/>
          </ac:picMkLst>
        </pc:picChg>
      </pc:sldChg>
      <pc:sldChg chg="addSp modSp">
        <pc:chgData name="Krishna  Patel" userId="ed2200d0-4eed-40c6-ab36-78bc62005773" providerId="ADAL" clId="{E56EB9E9-1E01-4995-937D-98B474E60653}" dt="2025-06-10T10:11:39.303" v="2031"/>
        <pc:sldMkLst>
          <pc:docMk/>
          <pc:sldMk cId="1725199093" sldId="1274"/>
        </pc:sldMkLst>
      </pc:sldChg>
      <pc:sldChg chg="addSp delSp modSp mod">
        <pc:chgData name="Krishna  Patel" userId="ed2200d0-4eed-40c6-ab36-78bc62005773" providerId="ADAL" clId="{E56EB9E9-1E01-4995-937D-98B474E60653}" dt="2025-06-10T10:12:57.241" v="2041"/>
        <pc:sldMkLst>
          <pc:docMk/>
          <pc:sldMk cId="4195937019" sldId="1283"/>
        </pc:sldMkLst>
        <pc:picChg chg="add mod">
          <ac:chgData name="Krishna  Patel" userId="ed2200d0-4eed-40c6-ab36-78bc62005773" providerId="ADAL" clId="{E56EB9E9-1E01-4995-937D-98B474E60653}" dt="2025-06-10T10:12:57.241" v="2041"/>
          <ac:picMkLst>
            <pc:docMk/>
            <pc:sldMk cId="4195937019" sldId="1283"/>
            <ac:picMk id="5" creationId="{CCA19702-D85C-4458-FAE3-343DEF300483}"/>
          </ac:picMkLst>
        </pc:picChg>
      </pc:sldChg>
      <pc:sldChg chg="modSp mod">
        <pc:chgData name="Krishna  Patel" userId="ed2200d0-4eed-40c6-ab36-78bc62005773" providerId="ADAL" clId="{E56EB9E9-1E01-4995-937D-98B474E60653}" dt="2025-06-10T08:54:50.520" v="60"/>
        <pc:sldMkLst>
          <pc:docMk/>
          <pc:sldMk cId="90865873" sldId="1284"/>
        </pc:sldMkLst>
      </pc:sldChg>
      <pc:sldChg chg="addSp delSp modSp mod">
        <pc:chgData name="Krishna  Patel" userId="ed2200d0-4eed-40c6-ab36-78bc62005773" providerId="ADAL" clId="{E56EB9E9-1E01-4995-937D-98B474E60653}" dt="2025-06-10T10:13:10.226" v="2045"/>
        <pc:sldMkLst>
          <pc:docMk/>
          <pc:sldMk cId="596106588" sldId="1287"/>
        </pc:sldMkLst>
        <pc:picChg chg="add mod">
          <ac:chgData name="Krishna  Patel" userId="ed2200d0-4eed-40c6-ab36-78bc62005773" providerId="ADAL" clId="{E56EB9E9-1E01-4995-937D-98B474E60653}" dt="2025-06-10T10:13:10.226" v="2045"/>
          <ac:picMkLst>
            <pc:docMk/>
            <pc:sldMk cId="596106588" sldId="1287"/>
            <ac:picMk id="4" creationId="{16FCF515-F274-A957-BDD6-323E49ED081C}"/>
          </ac:picMkLst>
        </pc:picChg>
      </pc:sldChg>
      <pc:sldChg chg="addSp delSp modSp mod">
        <pc:chgData name="Krishna  Patel" userId="ed2200d0-4eed-40c6-ab36-78bc62005773" providerId="ADAL" clId="{E56EB9E9-1E01-4995-937D-98B474E60653}" dt="2025-06-10T10:13:16.924" v="2047"/>
        <pc:sldMkLst>
          <pc:docMk/>
          <pc:sldMk cId="2250755200" sldId="1289"/>
        </pc:sldMkLst>
        <pc:picChg chg="add mod">
          <ac:chgData name="Krishna  Patel" userId="ed2200d0-4eed-40c6-ab36-78bc62005773" providerId="ADAL" clId="{E56EB9E9-1E01-4995-937D-98B474E60653}" dt="2025-06-10T10:13:16.924" v="2047"/>
          <ac:picMkLst>
            <pc:docMk/>
            <pc:sldMk cId="2250755200" sldId="1289"/>
            <ac:picMk id="3" creationId="{102FCC12-FF07-C197-4857-3E73B70D5F63}"/>
          </ac:picMkLst>
        </pc:picChg>
      </pc:sldChg>
      <pc:sldChg chg="modSp mod">
        <pc:chgData name="Krishna  Patel" userId="ed2200d0-4eed-40c6-ab36-78bc62005773" providerId="ADAL" clId="{E56EB9E9-1E01-4995-937D-98B474E60653}" dt="2025-06-10T08:57:59.496" v="74" actId="1076"/>
        <pc:sldMkLst>
          <pc:docMk/>
          <pc:sldMk cId="1938175801" sldId="1295"/>
        </pc:sldMkLst>
        <pc:spChg chg="mod">
          <ac:chgData name="Krishna  Patel" userId="ed2200d0-4eed-40c6-ab36-78bc62005773" providerId="ADAL" clId="{E56EB9E9-1E01-4995-937D-98B474E60653}" dt="2025-06-10T08:57:59.496" v="74" actId="1076"/>
          <ac:spMkLst>
            <pc:docMk/>
            <pc:sldMk cId="1938175801" sldId="1295"/>
            <ac:spMk id="2" creationId="{69A78E80-4044-3179-98CB-C9C67231ABD7}"/>
          </ac:spMkLst>
        </pc:spChg>
      </pc:sldChg>
      <pc:sldChg chg="addSp delSp modSp mod">
        <pc:chgData name="Krishna  Patel" userId="ed2200d0-4eed-40c6-ab36-78bc62005773" providerId="ADAL" clId="{E56EB9E9-1E01-4995-937D-98B474E60653}" dt="2025-06-10T09:01:35.318" v="99" actId="14100"/>
        <pc:sldMkLst>
          <pc:docMk/>
          <pc:sldMk cId="2474915344" sldId="1302"/>
        </pc:sldMkLst>
      </pc:sldChg>
      <pc:sldChg chg="modSp mod">
        <pc:chgData name="Krishna  Patel" userId="ed2200d0-4eed-40c6-ab36-78bc62005773" providerId="ADAL" clId="{E56EB9E9-1E01-4995-937D-98B474E60653}" dt="2025-06-10T09:01:43.472" v="100" actId="1076"/>
        <pc:sldMkLst>
          <pc:docMk/>
          <pc:sldMk cId="1169069124" sldId="1307"/>
        </pc:sldMkLst>
        <pc:spChg chg="mod">
          <ac:chgData name="Krishna  Patel" userId="ed2200d0-4eed-40c6-ab36-78bc62005773" providerId="ADAL" clId="{E56EB9E9-1E01-4995-937D-98B474E60653}" dt="2025-06-10T09:01:43.472" v="100" actId="1076"/>
          <ac:spMkLst>
            <pc:docMk/>
            <pc:sldMk cId="1169069124" sldId="1307"/>
            <ac:spMk id="30" creationId="{B75A2E8D-F1F8-15BE-CA4B-76D2D7461952}"/>
          </ac:spMkLst>
        </pc:spChg>
      </pc:sldChg>
      <pc:sldChg chg="modSp mod">
        <pc:chgData name="Krishna  Patel" userId="ed2200d0-4eed-40c6-ab36-78bc62005773" providerId="ADAL" clId="{E56EB9E9-1E01-4995-937D-98B474E60653}" dt="2025-06-10T09:02:34.824" v="117" actId="1076"/>
        <pc:sldMkLst>
          <pc:docMk/>
          <pc:sldMk cId="1208051429" sldId="1318"/>
        </pc:sldMkLst>
        <pc:spChg chg="mod">
          <ac:chgData name="Krishna  Patel" userId="ed2200d0-4eed-40c6-ab36-78bc62005773" providerId="ADAL" clId="{E56EB9E9-1E01-4995-937D-98B474E60653}" dt="2025-06-10T09:02:34.824" v="117" actId="1076"/>
          <ac:spMkLst>
            <pc:docMk/>
            <pc:sldMk cId="1208051429" sldId="1318"/>
            <ac:spMk id="4" creationId="{672C35C1-BF6F-D4B3-A070-966F3CA1E7F5}"/>
          </ac:spMkLst>
        </pc:spChg>
      </pc:sldChg>
      <pc:sldChg chg="modSp mod">
        <pc:chgData name="Krishna  Patel" userId="ed2200d0-4eed-40c6-ab36-78bc62005773" providerId="ADAL" clId="{E56EB9E9-1E01-4995-937D-98B474E60653}" dt="2025-06-10T09:03:01.545" v="124" actId="1035"/>
        <pc:sldMkLst>
          <pc:docMk/>
          <pc:sldMk cId="4210696127" sldId="1330"/>
        </pc:sldMkLst>
      </pc:sldChg>
      <pc:sldChg chg="modSp mod">
        <pc:chgData name="Krishna  Patel" userId="ed2200d0-4eed-40c6-ab36-78bc62005773" providerId="ADAL" clId="{E56EB9E9-1E01-4995-937D-98B474E60653}" dt="2025-06-10T09:03:11.799" v="137" actId="1035"/>
        <pc:sldMkLst>
          <pc:docMk/>
          <pc:sldMk cId="2891399107" sldId="1335"/>
        </pc:sldMkLst>
      </pc:sldChg>
      <pc:sldChg chg="modSp mod">
        <pc:chgData name="Krishna  Patel" userId="ed2200d0-4eed-40c6-ab36-78bc62005773" providerId="ADAL" clId="{E56EB9E9-1E01-4995-937D-98B474E60653}" dt="2025-06-10T09:10:57.116" v="335" actId="1035"/>
        <pc:sldMkLst>
          <pc:docMk/>
          <pc:sldMk cId="1966804136" sldId="1368"/>
        </pc:sldMkLst>
        <pc:spChg chg="mod">
          <ac:chgData name="Krishna  Patel" userId="ed2200d0-4eed-40c6-ab36-78bc62005773" providerId="ADAL" clId="{E56EB9E9-1E01-4995-937D-98B474E60653}" dt="2025-06-10T09:10:07.237" v="316" actId="1035"/>
          <ac:spMkLst>
            <pc:docMk/>
            <pc:sldMk cId="1966804136" sldId="1368"/>
            <ac:spMk id="2" creationId="{F856B2E5-378B-1279-9C88-3B7060CEE661}"/>
          </ac:spMkLst>
        </pc:spChg>
        <pc:spChg chg="mod">
          <ac:chgData name="Krishna  Patel" userId="ed2200d0-4eed-40c6-ab36-78bc62005773" providerId="ADAL" clId="{E56EB9E9-1E01-4995-937D-98B474E60653}" dt="2025-06-10T09:10:57.116" v="335" actId="1035"/>
          <ac:spMkLst>
            <pc:docMk/>
            <pc:sldMk cId="1966804136" sldId="1368"/>
            <ac:spMk id="30" creationId="{F3A593BE-3FFE-A4E6-0BB0-A6164F1A8D29}"/>
          </ac:spMkLst>
        </pc:spChg>
        <pc:spChg chg="mod">
          <ac:chgData name="Krishna  Patel" userId="ed2200d0-4eed-40c6-ab36-78bc62005773" providerId="ADAL" clId="{E56EB9E9-1E01-4995-937D-98B474E60653}" dt="2025-06-10T09:10:57.116" v="335" actId="1035"/>
          <ac:spMkLst>
            <pc:docMk/>
            <pc:sldMk cId="1966804136" sldId="1368"/>
            <ac:spMk id="31" creationId="{9601432F-204B-DD4A-AC28-E6D01451525B}"/>
          </ac:spMkLst>
        </pc:spChg>
        <pc:spChg chg="mod">
          <ac:chgData name="Krishna  Patel" userId="ed2200d0-4eed-40c6-ab36-78bc62005773" providerId="ADAL" clId="{E56EB9E9-1E01-4995-937D-98B474E60653}" dt="2025-06-10T09:10:57.116" v="335" actId="1035"/>
          <ac:spMkLst>
            <pc:docMk/>
            <pc:sldMk cId="1966804136" sldId="1368"/>
            <ac:spMk id="32" creationId="{E72C3D43-E5E9-681F-EEAD-9E9BB4F47D40}"/>
          </ac:spMkLst>
        </pc:spChg>
        <pc:spChg chg="mod">
          <ac:chgData name="Krishna  Patel" userId="ed2200d0-4eed-40c6-ab36-78bc62005773" providerId="ADAL" clId="{E56EB9E9-1E01-4995-937D-98B474E60653}" dt="2025-06-10T09:10:57.116" v="335" actId="1035"/>
          <ac:spMkLst>
            <pc:docMk/>
            <pc:sldMk cId="1966804136" sldId="1368"/>
            <ac:spMk id="34" creationId="{62F79462-463C-681F-06EE-7233BABB559B}"/>
          </ac:spMkLst>
        </pc:spChg>
        <pc:spChg chg="mod">
          <ac:chgData name="Krishna  Patel" userId="ed2200d0-4eed-40c6-ab36-78bc62005773" providerId="ADAL" clId="{E56EB9E9-1E01-4995-937D-98B474E60653}" dt="2025-06-10T09:10:57.116" v="335" actId="1035"/>
          <ac:spMkLst>
            <pc:docMk/>
            <pc:sldMk cId="1966804136" sldId="1368"/>
            <ac:spMk id="59" creationId="{A534172B-7C30-B6CC-130C-18119FD225D6}"/>
          </ac:spMkLst>
        </pc:spChg>
        <pc:spChg chg="mod">
          <ac:chgData name="Krishna  Patel" userId="ed2200d0-4eed-40c6-ab36-78bc62005773" providerId="ADAL" clId="{E56EB9E9-1E01-4995-937D-98B474E60653}" dt="2025-06-10T09:10:57.116" v="335" actId="1035"/>
          <ac:spMkLst>
            <pc:docMk/>
            <pc:sldMk cId="1966804136" sldId="1368"/>
            <ac:spMk id="68" creationId="{DECA4CD8-FD6B-3192-C4EC-02FE201C8135}"/>
          </ac:spMkLst>
        </pc:spChg>
        <pc:spChg chg="mod">
          <ac:chgData name="Krishna  Patel" userId="ed2200d0-4eed-40c6-ab36-78bc62005773" providerId="ADAL" clId="{E56EB9E9-1E01-4995-937D-98B474E60653}" dt="2025-06-10T09:10:57.116" v="335" actId="1035"/>
          <ac:spMkLst>
            <pc:docMk/>
            <pc:sldMk cId="1966804136" sldId="1368"/>
            <ac:spMk id="69" creationId="{69AD4B54-8051-A3FC-B7DB-28FA7E8CB187}"/>
          </ac:spMkLst>
        </pc:spChg>
        <pc:spChg chg="mod">
          <ac:chgData name="Krishna  Patel" userId="ed2200d0-4eed-40c6-ab36-78bc62005773" providerId="ADAL" clId="{E56EB9E9-1E01-4995-937D-98B474E60653}" dt="2025-06-10T09:10:44.686" v="318" actId="14100"/>
          <ac:spMkLst>
            <pc:docMk/>
            <pc:sldMk cId="1966804136" sldId="1368"/>
            <ac:spMk id="70" creationId="{68A93FF5-4C56-0C89-ED57-AB4B27FE00DC}"/>
          </ac:spMkLst>
        </pc:spChg>
        <pc:spChg chg="mod">
          <ac:chgData name="Krishna  Patel" userId="ed2200d0-4eed-40c6-ab36-78bc62005773" providerId="ADAL" clId="{E56EB9E9-1E01-4995-937D-98B474E60653}" dt="2025-06-10T09:10:57.116" v="335" actId="1035"/>
          <ac:spMkLst>
            <pc:docMk/>
            <pc:sldMk cId="1966804136" sldId="1368"/>
            <ac:spMk id="72" creationId="{72B47F77-DB8B-645D-1934-A16D0ABB4A0A}"/>
          </ac:spMkLst>
        </pc:spChg>
        <pc:spChg chg="mod">
          <ac:chgData name="Krishna  Patel" userId="ed2200d0-4eed-40c6-ab36-78bc62005773" providerId="ADAL" clId="{E56EB9E9-1E01-4995-937D-98B474E60653}" dt="2025-06-10T09:10:57.116" v="335" actId="1035"/>
          <ac:spMkLst>
            <pc:docMk/>
            <pc:sldMk cId="1966804136" sldId="1368"/>
            <ac:spMk id="73" creationId="{22C87AE9-5F72-BF75-A5DD-1B858489D6CF}"/>
          </ac:spMkLst>
        </pc:spChg>
        <pc:spChg chg="mod">
          <ac:chgData name="Krishna  Patel" userId="ed2200d0-4eed-40c6-ab36-78bc62005773" providerId="ADAL" clId="{E56EB9E9-1E01-4995-937D-98B474E60653}" dt="2025-06-10T09:10:57.116" v="335" actId="1035"/>
          <ac:spMkLst>
            <pc:docMk/>
            <pc:sldMk cId="1966804136" sldId="1368"/>
            <ac:spMk id="74" creationId="{FA8117EA-2F85-5531-4CCB-0C705D450F59}"/>
          </ac:spMkLst>
        </pc:spChg>
      </pc:sldChg>
      <pc:sldChg chg="modSp mod">
        <pc:chgData name="Krishna  Patel" userId="ed2200d0-4eed-40c6-ab36-78bc62005773" providerId="ADAL" clId="{E56EB9E9-1E01-4995-937D-98B474E60653}" dt="2025-06-10T09:07:58.418" v="293" actId="2711"/>
        <pc:sldMkLst>
          <pc:docMk/>
          <pc:sldMk cId="130700123" sldId="1369"/>
        </pc:sldMkLst>
        <pc:spChg chg="mod">
          <ac:chgData name="Krishna  Patel" userId="ed2200d0-4eed-40c6-ab36-78bc62005773" providerId="ADAL" clId="{E56EB9E9-1E01-4995-937D-98B474E60653}" dt="2025-06-10T09:07:50.939" v="292" actId="113"/>
          <ac:spMkLst>
            <pc:docMk/>
            <pc:sldMk cId="130700123" sldId="1369"/>
            <ac:spMk id="2" creationId="{782D7620-E3EE-EE28-654D-15309A1829E8}"/>
          </ac:spMkLst>
        </pc:spChg>
        <pc:spChg chg="mod">
          <ac:chgData name="Krishna  Patel" userId="ed2200d0-4eed-40c6-ab36-78bc62005773" providerId="ADAL" clId="{E56EB9E9-1E01-4995-937D-98B474E60653}" dt="2025-06-10T09:07:58.418" v="293" actId="2711"/>
          <ac:spMkLst>
            <pc:docMk/>
            <pc:sldMk cId="130700123" sldId="1369"/>
            <ac:spMk id="27" creationId="{B7E81F99-BB58-8C9E-ED27-EB094D64C91C}"/>
          </ac:spMkLst>
        </pc:spChg>
        <pc:spChg chg="mod">
          <ac:chgData name="Krishna  Patel" userId="ed2200d0-4eed-40c6-ab36-78bc62005773" providerId="ADAL" clId="{E56EB9E9-1E01-4995-937D-98B474E60653}" dt="2025-06-10T09:07:58.418" v="293" actId="2711"/>
          <ac:spMkLst>
            <pc:docMk/>
            <pc:sldMk cId="130700123" sldId="1369"/>
            <ac:spMk id="30" creationId="{E68E64E5-5D4D-974A-8ACB-0FD55DE48396}"/>
          </ac:spMkLst>
        </pc:spChg>
      </pc:sldChg>
      <pc:sldChg chg="modSp mod">
        <pc:chgData name="Krishna  Patel" userId="ed2200d0-4eed-40c6-ab36-78bc62005773" providerId="ADAL" clId="{E56EB9E9-1E01-4995-937D-98B474E60653}" dt="2025-06-10T09:12:08.519" v="358" actId="255"/>
        <pc:sldMkLst>
          <pc:docMk/>
          <pc:sldMk cId="1056810274" sldId="1370"/>
        </pc:sldMkLst>
        <pc:spChg chg="mod">
          <ac:chgData name="Krishna  Patel" userId="ed2200d0-4eed-40c6-ab36-78bc62005773" providerId="ADAL" clId="{E56EB9E9-1E01-4995-937D-98B474E60653}" dt="2025-06-10T09:11:19.635" v="347" actId="113"/>
          <ac:spMkLst>
            <pc:docMk/>
            <pc:sldMk cId="1056810274" sldId="1370"/>
            <ac:spMk id="2" creationId="{DAF375E7-C74C-73BB-1E2D-8A780AEAE4DD}"/>
          </ac:spMkLst>
        </pc:spChg>
        <pc:spChg chg="mod">
          <ac:chgData name="Krishna  Patel" userId="ed2200d0-4eed-40c6-ab36-78bc62005773" providerId="ADAL" clId="{E56EB9E9-1E01-4995-937D-98B474E60653}" dt="2025-06-10T09:12:08.519" v="358" actId="255"/>
          <ac:spMkLst>
            <pc:docMk/>
            <pc:sldMk cId="1056810274" sldId="1370"/>
            <ac:spMk id="4" creationId="{5A14BD05-70B8-5B0C-AD64-B8FA9DC5982B}"/>
          </ac:spMkLst>
        </pc:spChg>
      </pc:sldChg>
      <pc:sldChg chg="modSp mod">
        <pc:chgData name="Krishna  Patel" userId="ed2200d0-4eed-40c6-ab36-78bc62005773" providerId="ADAL" clId="{E56EB9E9-1E01-4995-937D-98B474E60653}" dt="2025-06-10T09:12:47.233" v="387" actId="1035"/>
        <pc:sldMkLst>
          <pc:docMk/>
          <pc:sldMk cId="2865006180" sldId="1371"/>
        </pc:sldMkLst>
        <pc:spChg chg="mod">
          <ac:chgData name="Krishna  Patel" userId="ed2200d0-4eed-40c6-ab36-78bc62005773" providerId="ADAL" clId="{E56EB9E9-1E01-4995-937D-98B474E60653}" dt="2025-06-10T09:12:47.233" v="387" actId="1035"/>
          <ac:spMkLst>
            <pc:docMk/>
            <pc:sldMk cId="2865006180" sldId="1371"/>
            <ac:spMk id="2" creationId="{A253A976-796C-94AA-EA6C-BF2463930129}"/>
          </ac:spMkLst>
        </pc:spChg>
      </pc:sldChg>
      <pc:sldChg chg="modSp mod">
        <pc:chgData name="Krishna  Patel" userId="ed2200d0-4eed-40c6-ab36-78bc62005773" providerId="ADAL" clId="{E56EB9E9-1E01-4995-937D-98B474E60653}" dt="2025-06-10T09:13:02.602" v="404" actId="113"/>
        <pc:sldMkLst>
          <pc:docMk/>
          <pc:sldMk cId="2954267522" sldId="1372"/>
        </pc:sldMkLst>
        <pc:spChg chg="mod">
          <ac:chgData name="Krishna  Patel" userId="ed2200d0-4eed-40c6-ab36-78bc62005773" providerId="ADAL" clId="{E56EB9E9-1E01-4995-937D-98B474E60653}" dt="2025-06-10T09:13:02.602" v="404" actId="113"/>
          <ac:spMkLst>
            <pc:docMk/>
            <pc:sldMk cId="2954267522" sldId="1372"/>
            <ac:spMk id="2" creationId="{BF4C30ED-7105-75F6-C612-1DB6CB19C2CC}"/>
          </ac:spMkLst>
        </pc:spChg>
      </pc:sldChg>
      <pc:sldChg chg="modSp mod">
        <pc:chgData name="Krishna  Patel" userId="ed2200d0-4eed-40c6-ab36-78bc62005773" providerId="ADAL" clId="{E56EB9E9-1E01-4995-937D-98B474E60653}" dt="2025-06-10T09:14:46.884" v="471" actId="1037"/>
        <pc:sldMkLst>
          <pc:docMk/>
          <pc:sldMk cId="2044274387" sldId="1374"/>
        </pc:sldMkLst>
        <pc:spChg chg="mod">
          <ac:chgData name="Krishna  Patel" userId="ed2200d0-4eed-40c6-ab36-78bc62005773" providerId="ADAL" clId="{E56EB9E9-1E01-4995-937D-98B474E60653}" dt="2025-06-10T09:13:12.488" v="418" actId="113"/>
          <ac:spMkLst>
            <pc:docMk/>
            <pc:sldMk cId="2044274387" sldId="1374"/>
            <ac:spMk id="2" creationId="{117A3D6A-A7F1-2067-4BA3-443F26F558F8}"/>
          </ac:spMkLst>
        </pc:spChg>
        <pc:spChg chg="mod">
          <ac:chgData name="Krishna  Patel" userId="ed2200d0-4eed-40c6-ab36-78bc62005773" providerId="ADAL" clId="{E56EB9E9-1E01-4995-937D-98B474E60653}" dt="2025-06-10T09:13:37.229" v="425" actId="1038"/>
          <ac:spMkLst>
            <pc:docMk/>
            <pc:sldMk cId="2044274387" sldId="1374"/>
            <ac:spMk id="8" creationId="{54EDCEB9-C0B1-20C0-FBF2-3D912897BDD7}"/>
          </ac:spMkLst>
        </pc:spChg>
        <pc:spChg chg="mod">
          <ac:chgData name="Krishna  Patel" userId="ed2200d0-4eed-40c6-ab36-78bc62005773" providerId="ADAL" clId="{E56EB9E9-1E01-4995-937D-98B474E60653}" dt="2025-06-10T09:14:42.456" v="466" actId="1038"/>
          <ac:spMkLst>
            <pc:docMk/>
            <pc:sldMk cId="2044274387" sldId="1374"/>
            <ac:spMk id="18" creationId="{44CA6FB3-4DE2-2B02-DE83-7C3F0C4375D6}"/>
          </ac:spMkLst>
        </pc:spChg>
        <pc:spChg chg="mod">
          <ac:chgData name="Krishna  Patel" userId="ed2200d0-4eed-40c6-ab36-78bc62005773" providerId="ADAL" clId="{E56EB9E9-1E01-4995-937D-98B474E60653}" dt="2025-06-10T09:14:42.456" v="466" actId="1038"/>
          <ac:spMkLst>
            <pc:docMk/>
            <pc:sldMk cId="2044274387" sldId="1374"/>
            <ac:spMk id="19" creationId="{1EDFD52E-0747-32B5-4FBC-E1416ABE99FA}"/>
          </ac:spMkLst>
        </pc:spChg>
        <pc:spChg chg="mod">
          <ac:chgData name="Krishna  Patel" userId="ed2200d0-4eed-40c6-ab36-78bc62005773" providerId="ADAL" clId="{E56EB9E9-1E01-4995-937D-98B474E60653}" dt="2025-06-10T09:14:42.456" v="466" actId="1038"/>
          <ac:spMkLst>
            <pc:docMk/>
            <pc:sldMk cId="2044274387" sldId="1374"/>
            <ac:spMk id="20" creationId="{2F753252-68FC-ED25-7DE3-5BAD3D7AF838}"/>
          </ac:spMkLst>
        </pc:spChg>
        <pc:spChg chg="mod">
          <ac:chgData name="Krishna  Patel" userId="ed2200d0-4eed-40c6-ab36-78bc62005773" providerId="ADAL" clId="{E56EB9E9-1E01-4995-937D-98B474E60653}" dt="2025-06-10T09:14:42.456" v="466" actId="1038"/>
          <ac:spMkLst>
            <pc:docMk/>
            <pc:sldMk cId="2044274387" sldId="1374"/>
            <ac:spMk id="21" creationId="{48E718C4-9472-AFAD-AF90-BBD001B092EE}"/>
          </ac:spMkLst>
        </pc:spChg>
        <pc:spChg chg="mod">
          <ac:chgData name="Krishna  Patel" userId="ed2200d0-4eed-40c6-ab36-78bc62005773" providerId="ADAL" clId="{E56EB9E9-1E01-4995-937D-98B474E60653}" dt="2025-06-10T09:14:42.456" v="466" actId="1038"/>
          <ac:spMkLst>
            <pc:docMk/>
            <pc:sldMk cId="2044274387" sldId="1374"/>
            <ac:spMk id="22" creationId="{7D7D4B5C-655C-FF9A-BEB1-FABA9633A30C}"/>
          </ac:spMkLst>
        </pc:spChg>
        <pc:spChg chg="mod">
          <ac:chgData name="Krishna  Patel" userId="ed2200d0-4eed-40c6-ab36-78bc62005773" providerId="ADAL" clId="{E56EB9E9-1E01-4995-937D-98B474E60653}" dt="2025-06-10T09:14:42.456" v="466" actId="1038"/>
          <ac:spMkLst>
            <pc:docMk/>
            <pc:sldMk cId="2044274387" sldId="1374"/>
            <ac:spMk id="23" creationId="{FE06691F-2160-99ED-D700-9764C28AD3C5}"/>
          </ac:spMkLst>
        </pc:spChg>
        <pc:spChg chg="mod">
          <ac:chgData name="Krishna  Patel" userId="ed2200d0-4eed-40c6-ab36-78bc62005773" providerId="ADAL" clId="{E56EB9E9-1E01-4995-937D-98B474E60653}" dt="2025-06-10T09:14:46.884" v="471" actId="1037"/>
          <ac:spMkLst>
            <pc:docMk/>
            <pc:sldMk cId="2044274387" sldId="1374"/>
            <ac:spMk id="24" creationId="{86424882-C103-81BD-BC47-64272B6727CC}"/>
          </ac:spMkLst>
        </pc:spChg>
        <pc:spChg chg="mod">
          <ac:chgData name="Krishna  Patel" userId="ed2200d0-4eed-40c6-ab36-78bc62005773" providerId="ADAL" clId="{E56EB9E9-1E01-4995-937D-98B474E60653}" dt="2025-06-10T09:14:46.884" v="471" actId="1037"/>
          <ac:spMkLst>
            <pc:docMk/>
            <pc:sldMk cId="2044274387" sldId="1374"/>
            <ac:spMk id="25" creationId="{ADDE4CF2-354F-E717-366D-7806ECF563C6}"/>
          </ac:spMkLst>
        </pc:spChg>
        <pc:spChg chg="mod">
          <ac:chgData name="Krishna  Patel" userId="ed2200d0-4eed-40c6-ab36-78bc62005773" providerId="ADAL" clId="{E56EB9E9-1E01-4995-937D-98B474E60653}" dt="2025-06-10T09:14:46.884" v="471" actId="1037"/>
          <ac:spMkLst>
            <pc:docMk/>
            <pc:sldMk cId="2044274387" sldId="1374"/>
            <ac:spMk id="26" creationId="{B4C3A667-1A21-F1C1-B3E0-BD25CB0618C5}"/>
          </ac:spMkLst>
        </pc:spChg>
        <pc:spChg chg="mod">
          <ac:chgData name="Krishna  Patel" userId="ed2200d0-4eed-40c6-ab36-78bc62005773" providerId="ADAL" clId="{E56EB9E9-1E01-4995-937D-98B474E60653}" dt="2025-06-10T09:14:46.884" v="471" actId="1037"/>
          <ac:spMkLst>
            <pc:docMk/>
            <pc:sldMk cId="2044274387" sldId="1374"/>
            <ac:spMk id="27" creationId="{AA2683FD-71C8-D77A-B143-BDC5B9D871F6}"/>
          </ac:spMkLst>
        </pc:spChg>
        <pc:spChg chg="mod">
          <ac:chgData name="Krishna  Patel" userId="ed2200d0-4eed-40c6-ab36-78bc62005773" providerId="ADAL" clId="{E56EB9E9-1E01-4995-937D-98B474E60653}" dt="2025-06-10T09:14:46.884" v="471" actId="1037"/>
          <ac:spMkLst>
            <pc:docMk/>
            <pc:sldMk cId="2044274387" sldId="1374"/>
            <ac:spMk id="28" creationId="{5BD486E1-513F-0236-7E59-57F351A9E295}"/>
          </ac:spMkLst>
        </pc:spChg>
        <pc:spChg chg="mod">
          <ac:chgData name="Krishna  Patel" userId="ed2200d0-4eed-40c6-ab36-78bc62005773" providerId="ADAL" clId="{E56EB9E9-1E01-4995-937D-98B474E60653}" dt="2025-06-10T09:14:46.884" v="471" actId="1037"/>
          <ac:spMkLst>
            <pc:docMk/>
            <pc:sldMk cId="2044274387" sldId="1374"/>
            <ac:spMk id="29" creationId="{4CAD5E68-8804-8124-E0C3-378B0D31BD7D}"/>
          </ac:spMkLst>
        </pc:spChg>
      </pc:sldChg>
      <pc:sldChg chg="modSp add del mod">
        <pc:chgData name="Krishna  Patel" userId="ed2200d0-4eed-40c6-ab36-78bc62005773" providerId="ADAL" clId="{E56EB9E9-1E01-4995-937D-98B474E60653}" dt="2025-06-10T09:17:47.923" v="479" actId="47"/>
        <pc:sldMkLst>
          <pc:docMk/>
          <pc:sldMk cId="2149197380" sldId="1376"/>
        </pc:sldMkLst>
      </pc:sldChg>
      <pc:sldChg chg="del">
        <pc:chgData name="Krishna  Patel" userId="ed2200d0-4eed-40c6-ab36-78bc62005773" providerId="ADAL" clId="{E56EB9E9-1E01-4995-937D-98B474E60653}" dt="2025-06-10T09:18:25.592" v="505" actId="47"/>
        <pc:sldMkLst>
          <pc:docMk/>
          <pc:sldMk cId="2153920532" sldId="1377"/>
        </pc:sldMkLst>
      </pc:sldChg>
      <pc:sldChg chg="del">
        <pc:chgData name="Krishna  Patel" userId="ed2200d0-4eed-40c6-ab36-78bc62005773" providerId="ADAL" clId="{E56EB9E9-1E01-4995-937D-98B474E60653}" dt="2025-06-10T09:19:03.140" v="509" actId="47"/>
        <pc:sldMkLst>
          <pc:docMk/>
          <pc:sldMk cId="4103397409" sldId="1378"/>
        </pc:sldMkLst>
      </pc:sldChg>
      <pc:sldChg chg="del">
        <pc:chgData name="Krishna  Patel" userId="ed2200d0-4eed-40c6-ab36-78bc62005773" providerId="ADAL" clId="{E56EB9E9-1E01-4995-937D-98B474E60653}" dt="2025-06-10T09:19:27.804" v="513" actId="47"/>
        <pc:sldMkLst>
          <pc:docMk/>
          <pc:sldMk cId="4134873201" sldId="1380"/>
        </pc:sldMkLst>
      </pc:sldChg>
      <pc:sldChg chg="add del">
        <pc:chgData name="Krishna  Patel" userId="ed2200d0-4eed-40c6-ab36-78bc62005773" providerId="ADAL" clId="{E56EB9E9-1E01-4995-937D-98B474E60653}" dt="2025-06-10T09:20:13.650" v="519" actId="47"/>
        <pc:sldMkLst>
          <pc:docMk/>
          <pc:sldMk cId="2287264940" sldId="1381"/>
        </pc:sldMkLst>
      </pc:sldChg>
      <pc:sldChg chg="add del">
        <pc:chgData name="Krishna  Patel" userId="ed2200d0-4eed-40c6-ab36-78bc62005773" providerId="ADAL" clId="{E56EB9E9-1E01-4995-937D-98B474E60653}" dt="2025-06-10T09:20:59.750" v="525" actId="47"/>
        <pc:sldMkLst>
          <pc:docMk/>
          <pc:sldMk cId="2246927992" sldId="1383"/>
        </pc:sldMkLst>
      </pc:sldChg>
      <pc:sldChg chg="add del">
        <pc:chgData name="Krishna  Patel" userId="ed2200d0-4eed-40c6-ab36-78bc62005773" providerId="ADAL" clId="{E56EB9E9-1E01-4995-937D-98B474E60653}" dt="2025-06-10T09:22:51.509" v="531" actId="47"/>
        <pc:sldMkLst>
          <pc:docMk/>
          <pc:sldMk cId="3937025842" sldId="1385"/>
        </pc:sldMkLst>
      </pc:sldChg>
      <pc:sldChg chg="del">
        <pc:chgData name="Krishna  Patel" userId="ed2200d0-4eed-40c6-ab36-78bc62005773" providerId="ADAL" clId="{E56EB9E9-1E01-4995-937D-98B474E60653}" dt="2025-06-10T09:23:14.248" v="535" actId="47"/>
        <pc:sldMkLst>
          <pc:docMk/>
          <pc:sldMk cId="4137854167" sldId="1386"/>
        </pc:sldMkLst>
      </pc:sldChg>
      <pc:sldChg chg="add del">
        <pc:chgData name="Krishna  Patel" userId="ed2200d0-4eed-40c6-ab36-78bc62005773" providerId="ADAL" clId="{E56EB9E9-1E01-4995-937D-98B474E60653}" dt="2025-06-10T09:24:29.251" v="541" actId="47"/>
        <pc:sldMkLst>
          <pc:docMk/>
          <pc:sldMk cId="18798766" sldId="1388"/>
        </pc:sldMkLst>
      </pc:sldChg>
      <pc:sldChg chg="del">
        <pc:chgData name="Krishna  Patel" userId="ed2200d0-4eed-40c6-ab36-78bc62005773" providerId="ADAL" clId="{E56EB9E9-1E01-4995-937D-98B474E60653}" dt="2025-06-10T09:24:53.672" v="555" actId="47"/>
        <pc:sldMkLst>
          <pc:docMk/>
          <pc:sldMk cId="3450120803" sldId="1389"/>
        </pc:sldMkLst>
      </pc:sldChg>
      <pc:sldChg chg="del">
        <pc:chgData name="Krishna  Patel" userId="ed2200d0-4eed-40c6-ab36-78bc62005773" providerId="ADAL" clId="{E56EB9E9-1E01-4995-937D-98B474E60653}" dt="2025-06-10T09:25:55.124" v="576" actId="47"/>
        <pc:sldMkLst>
          <pc:docMk/>
          <pc:sldMk cId="2578419182" sldId="1392"/>
        </pc:sldMkLst>
      </pc:sldChg>
      <pc:sldChg chg="del">
        <pc:chgData name="Krishna  Patel" userId="ed2200d0-4eed-40c6-ab36-78bc62005773" providerId="ADAL" clId="{E56EB9E9-1E01-4995-937D-98B474E60653}" dt="2025-06-10T09:26:25.726" v="588" actId="47"/>
        <pc:sldMkLst>
          <pc:docMk/>
          <pc:sldMk cId="2056974111" sldId="1393"/>
        </pc:sldMkLst>
      </pc:sldChg>
      <pc:sldChg chg="del">
        <pc:chgData name="Krishna  Patel" userId="ed2200d0-4eed-40c6-ab36-78bc62005773" providerId="ADAL" clId="{E56EB9E9-1E01-4995-937D-98B474E60653}" dt="2025-06-10T09:26:57.281" v="600" actId="47"/>
        <pc:sldMkLst>
          <pc:docMk/>
          <pc:sldMk cId="2155299973" sldId="1396"/>
        </pc:sldMkLst>
      </pc:sldChg>
      <pc:sldChg chg="modSp mod">
        <pc:chgData name="Krishna  Patel" userId="ed2200d0-4eed-40c6-ab36-78bc62005773" providerId="ADAL" clId="{E56EB9E9-1E01-4995-937D-98B474E60653}" dt="2025-06-10T09:30:38.077" v="654" actId="1076"/>
        <pc:sldMkLst>
          <pc:docMk/>
          <pc:sldMk cId="3897331874" sldId="1397"/>
        </pc:sldMkLst>
        <pc:spChg chg="mod">
          <ac:chgData name="Krishna  Patel" userId="ed2200d0-4eed-40c6-ab36-78bc62005773" providerId="ADAL" clId="{E56EB9E9-1E01-4995-937D-98B474E60653}" dt="2025-06-10T09:27:50.620" v="625" actId="2711"/>
          <ac:spMkLst>
            <pc:docMk/>
            <pc:sldMk cId="3897331874" sldId="1397"/>
            <ac:spMk id="2" creationId="{3B8B9189-3176-BDC2-3AE9-727DE99AA123}"/>
          </ac:spMkLst>
        </pc:spChg>
        <pc:spChg chg="mod">
          <ac:chgData name="Krishna  Patel" userId="ed2200d0-4eed-40c6-ab36-78bc62005773" providerId="ADAL" clId="{E56EB9E9-1E01-4995-937D-98B474E60653}" dt="2025-06-10T09:29:13.771" v="632" actId="1035"/>
          <ac:spMkLst>
            <pc:docMk/>
            <pc:sldMk cId="3897331874" sldId="1397"/>
            <ac:spMk id="23" creationId="{ED1BED20-588F-6A4A-B0F7-57F6D18AF83F}"/>
          </ac:spMkLst>
        </pc:spChg>
        <pc:spChg chg="mod">
          <ac:chgData name="Krishna  Patel" userId="ed2200d0-4eed-40c6-ab36-78bc62005773" providerId="ADAL" clId="{E56EB9E9-1E01-4995-937D-98B474E60653}" dt="2025-06-10T09:30:38.077" v="654" actId="1076"/>
          <ac:spMkLst>
            <pc:docMk/>
            <pc:sldMk cId="3897331874" sldId="1397"/>
            <ac:spMk id="24" creationId="{073ACF5B-2539-2CF2-ABEB-AC48848E84F0}"/>
          </ac:spMkLst>
        </pc:spChg>
        <pc:spChg chg="mod">
          <ac:chgData name="Krishna  Patel" userId="ed2200d0-4eed-40c6-ab36-78bc62005773" providerId="ADAL" clId="{E56EB9E9-1E01-4995-937D-98B474E60653}" dt="2025-06-10T09:30:38.077" v="654" actId="1076"/>
          <ac:spMkLst>
            <pc:docMk/>
            <pc:sldMk cId="3897331874" sldId="1397"/>
            <ac:spMk id="25" creationId="{262F376E-6F10-EBB8-72B2-D8FC58A01ED1}"/>
          </ac:spMkLst>
        </pc:spChg>
        <pc:spChg chg="mod">
          <ac:chgData name="Krishna  Patel" userId="ed2200d0-4eed-40c6-ab36-78bc62005773" providerId="ADAL" clId="{E56EB9E9-1E01-4995-937D-98B474E60653}" dt="2025-06-10T09:30:25.499" v="641" actId="1036"/>
          <ac:spMkLst>
            <pc:docMk/>
            <pc:sldMk cId="3897331874" sldId="1397"/>
            <ac:spMk id="26" creationId="{2FF89EEC-8823-EA07-7D47-95901362FF07}"/>
          </ac:spMkLst>
        </pc:spChg>
        <pc:spChg chg="mod">
          <ac:chgData name="Krishna  Patel" userId="ed2200d0-4eed-40c6-ab36-78bc62005773" providerId="ADAL" clId="{E56EB9E9-1E01-4995-937D-98B474E60653}" dt="2025-06-10T09:30:38.077" v="654" actId="1076"/>
          <ac:spMkLst>
            <pc:docMk/>
            <pc:sldMk cId="3897331874" sldId="1397"/>
            <ac:spMk id="27" creationId="{6098C4A4-BAA1-FA13-FAC4-B56D586F669E}"/>
          </ac:spMkLst>
        </pc:spChg>
        <pc:spChg chg="mod">
          <ac:chgData name="Krishna  Patel" userId="ed2200d0-4eed-40c6-ab36-78bc62005773" providerId="ADAL" clId="{E56EB9E9-1E01-4995-937D-98B474E60653}" dt="2025-06-10T09:30:38.077" v="654" actId="1076"/>
          <ac:spMkLst>
            <pc:docMk/>
            <pc:sldMk cId="3897331874" sldId="1397"/>
            <ac:spMk id="29" creationId="{E31F6763-6D30-F42A-CA3F-35F0E81987D6}"/>
          </ac:spMkLst>
        </pc:spChg>
        <pc:spChg chg="mod">
          <ac:chgData name="Krishna  Patel" userId="ed2200d0-4eed-40c6-ab36-78bc62005773" providerId="ADAL" clId="{E56EB9E9-1E01-4995-937D-98B474E60653}" dt="2025-06-10T09:30:38.077" v="654" actId="1076"/>
          <ac:spMkLst>
            <pc:docMk/>
            <pc:sldMk cId="3897331874" sldId="1397"/>
            <ac:spMk id="31" creationId="{0788A814-8C5F-5724-228D-93FCC5F131F1}"/>
          </ac:spMkLst>
        </pc:spChg>
        <pc:spChg chg="mod">
          <ac:chgData name="Krishna  Patel" userId="ed2200d0-4eed-40c6-ab36-78bc62005773" providerId="ADAL" clId="{E56EB9E9-1E01-4995-937D-98B474E60653}" dt="2025-06-10T09:30:38.077" v="654" actId="1076"/>
          <ac:spMkLst>
            <pc:docMk/>
            <pc:sldMk cId="3897331874" sldId="1397"/>
            <ac:spMk id="33" creationId="{772B6F86-DA6C-443B-8455-1AFF802E9AD9}"/>
          </ac:spMkLst>
        </pc:spChg>
        <pc:spChg chg="mod">
          <ac:chgData name="Krishna  Patel" userId="ed2200d0-4eed-40c6-ab36-78bc62005773" providerId="ADAL" clId="{E56EB9E9-1E01-4995-937D-98B474E60653}" dt="2025-06-10T09:30:38.077" v="654" actId="1076"/>
          <ac:spMkLst>
            <pc:docMk/>
            <pc:sldMk cId="3897331874" sldId="1397"/>
            <ac:spMk id="34" creationId="{172B3778-244C-359B-CAB8-00C6FF075555}"/>
          </ac:spMkLst>
        </pc:spChg>
        <pc:spChg chg="mod">
          <ac:chgData name="Krishna  Patel" userId="ed2200d0-4eed-40c6-ab36-78bc62005773" providerId="ADAL" clId="{E56EB9E9-1E01-4995-937D-98B474E60653}" dt="2025-06-10T09:30:38.077" v="654" actId="1076"/>
          <ac:spMkLst>
            <pc:docMk/>
            <pc:sldMk cId="3897331874" sldId="1397"/>
            <ac:spMk id="35" creationId="{7C0E313E-2A46-9AD7-9470-2A7ED4C67F98}"/>
          </ac:spMkLst>
        </pc:spChg>
        <pc:spChg chg="mod">
          <ac:chgData name="Krishna  Patel" userId="ed2200d0-4eed-40c6-ab36-78bc62005773" providerId="ADAL" clId="{E56EB9E9-1E01-4995-937D-98B474E60653}" dt="2025-06-10T09:30:25.499" v="641" actId="1036"/>
          <ac:spMkLst>
            <pc:docMk/>
            <pc:sldMk cId="3897331874" sldId="1397"/>
            <ac:spMk id="36" creationId="{1DA13420-61C9-8496-2EDD-BEE27C8653EC}"/>
          </ac:spMkLst>
        </pc:spChg>
        <pc:spChg chg="mod">
          <ac:chgData name="Krishna  Patel" userId="ed2200d0-4eed-40c6-ab36-78bc62005773" providerId="ADAL" clId="{E56EB9E9-1E01-4995-937D-98B474E60653}" dt="2025-06-10T09:30:30.408" v="652" actId="1036"/>
          <ac:spMkLst>
            <pc:docMk/>
            <pc:sldMk cId="3897331874" sldId="1397"/>
            <ac:spMk id="37" creationId="{5894C533-8E2B-6C4C-3BE4-093F1308CF70}"/>
          </ac:spMkLst>
        </pc:spChg>
        <pc:spChg chg="mod">
          <ac:chgData name="Krishna  Patel" userId="ed2200d0-4eed-40c6-ab36-78bc62005773" providerId="ADAL" clId="{E56EB9E9-1E01-4995-937D-98B474E60653}" dt="2025-06-10T09:30:30.408" v="652" actId="1036"/>
          <ac:spMkLst>
            <pc:docMk/>
            <pc:sldMk cId="3897331874" sldId="1397"/>
            <ac:spMk id="39" creationId="{A830FF9E-4B50-1A3B-7637-9D1BB8C1955E}"/>
          </ac:spMkLst>
        </pc:spChg>
        <pc:spChg chg="mod">
          <ac:chgData name="Krishna  Patel" userId="ed2200d0-4eed-40c6-ab36-78bc62005773" providerId="ADAL" clId="{E56EB9E9-1E01-4995-937D-98B474E60653}" dt="2025-06-10T09:30:38.077" v="654" actId="1076"/>
          <ac:spMkLst>
            <pc:docMk/>
            <pc:sldMk cId="3897331874" sldId="1397"/>
            <ac:spMk id="41" creationId="{1F23A45E-9BE2-F284-60A8-9E689B1820A9}"/>
          </ac:spMkLst>
        </pc:spChg>
        <pc:spChg chg="mod">
          <ac:chgData name="Krishna  Patel" userId="ed2200d0-4eed-40c6-ab36-78bc62005773" providerId="ADAL" clId="{E56EB9E9-1E01-4995-937D-98B474E60653}" dt="2025-06-10T09:30:38.077" v="654" actId="1076"/>
          <ac:spMkLst>
            <pc:docMk/>
            <pc:sldMk cId="3897331874" sldId="1397"/>
            <ac:spMk id="43" creationId="{607167FC-F280-3E1E-7F62-38D02985FE3F}"/>
          </ac:spMkLst>
        </pc:spChg>
      </pc:sldChg>
      <pc:sldChg chg="modSp mod">
        <pc:chgData name="Krishna  Patel" userId="ed2200d0-4eed-40c6-ab36-78bc62005773" providerId="ADAL" clId="{E56EB9E9-1E01-4995-937D-98B474E60653}" dt="2025-06-10T09:32:36.715" v="676" actId="113"/>
        <pc:sldMkLst>
          <pc:docMk/>
          <pc:sldMk cId="1126234879" sldId="1398"/>
        </pc:sldMkLst>
        <pc:spChg chg="mod">
          <ac:chgData name="Krishna  Patel" userId="ed2200d0-4eed-40c6-ab36-78bc62005773" providerId="ADAL" clId="{E56EB9E9-1E01-4995-937D-98B474E60653}" dt="2025-06-10T09:32:36.715" v="676" actId="113"/>
          <ac:spMkLst>
            <pc:docMk/>
            <pc:sldMk cId="1126234879" sldId="1398"/>
            <ac:spMk id="2" creationId="{8B674E54-2643-B5E4-5462-E0DB9575B258}"/>
          </ac:spMkLst>
        </pc:spChg>
        <pc:spChg chg="mod">
          <ac:chgData name="Krishna  Patel" userId="ed2200d0-4eed-40c6-ab36-78bc62005773" providerId="ADAL" clId="{E56EB9E9-1E01-4995-937D-98B474E60653}" dt="2025-06-10T09:32:05.735" v="669" actId="14100"/>
          <ac:spMkLst>
            <pc:docMk/>
            <pc:sldMk cId="1126234879" sldId="1398"/>
            <ac:spMk id="3" creationId="{97CE4107-28C5-08A2-F7D1-1EA8EF7AB929}"/>
          </ac:spMkLst>
        </pc:spChg>
        <pc:spChg chg="mod">
          <ac:chgData name="Krishna  Patel" userId="ed2200d0-4eed-40c6-ab36-78bc62005773" providerId="ADAL" clId="{E56EB9E9-1E01-4995-937D-98B474E60653}" dt="2025-06-10T09:31:48.562" v="665" actId="1076"/>
          <ac:spMkLst>
            <pc:docMk/>
            <pc:sldMk cId="1126234879" sldId="1398"/>
            <ac:spMk id="4" creationId="{E265B48E-5D61-85E2-AC24-3B81496F467A}"/>
          </ac:spMkLst>
        </pc:spChg>
        <pc:spChg chg="mod">
          <ac:chgData name="Krishna  Patel" userId="ed2200d0-4eed-40c6-ab36-78bc62005773" providerId="ADAL" clId="{E56EB9E9-1E01-4995-937D-98B474E60653}" dt="2025-06-10T09:32:12.190" v="671" actId="1036"/>
          <ac:spMkLst>
            <pc:docMk/>
            <pc:sldMk cId="1126234879" sldId="1398"/>
            <ac:spMk id="6" creationId="{3ACB2792-DBCC-C358-E4AB-208DFE7983B6}"/>
          </ac:spMkLst>
        </pc:spChg>
        <pc:spChg chg="mod">
          <ac:chgData name="Krishna  Patel" userId="ed2200d0-4eed-40c6-ab36-78bc62005773" providerId="ADAL" clId="{E56EB9E9-1E01-4995-937D-98B474E60653}" dt="2025-06-10T09:32:01.811" v="668" actId="1076"/>
          <ac:spMkLst>
            <pc:docMk/>
            <pc:sldMk cId="1126234879" sldId="1398"/>
            <ac:spMk id="7" creationId="{24B08863-7116-7809-2AD6-2E0CD5EDFAE5}"/>
          </ac:spMkLst>
        </pc:spChg>
        <pc:spChg chg="mod">
          <ac:chgData name="Krishna  Patel" userId="ed2200d0-4eed-40c6-ab36-78bc62005773" providerId="ADAL" clId="{E56EB9E9-1E01-4995-937D-98B474E60653}" dt="2025-06-10T09:32:01.811" v="668" actId="1076"/>
          <ac:spMkLst>
            <pc:docMk/>
            <pc:sldMk cId="1126234879" sldId="1398"/>
            <ac:spMk id="9" creationId="{39FFD4B0-A394-061A-B963-CD764046BEEC}"/>
          </ac:spMkLst>
        </pc:spChg>
        <pc:spChg chg="mod">
          <ac:chgData name="Krishna  Patel" userId="ed2200d0-4eed-40c6-ab36-78bc62005773" providerId="ADAL" clId="{E56EB9E9-1E01-4995-937D-98B474E60653}" dt="2025-06-10T09:31:06.588" v="659" actId="1035"/>
          <ac:spMkLst>
            <pc:docMk/>
            <pc:sldMk cId="1126234879" sldId="1398"/>
            <ac:spMk id="23" creationId="{635BBBE5-E9DA-CF0B-D91A-AF5DB45DE265}"/>
          </ac:spMkLst>
        </pc:spChg>
        <pc:spChg chg="mod">
          <ac:chgData name="Krishna  Patel" userId="ed2200d0-4eed-40c6-ab36-78bc62005773" providerId="ADAL" clId="{E56EB9E9-1E01-4995-937D-98B474E60653}" dt="2025-06-10T09:31:56.447" v="667" actId="1076"/>
          <ac:spMkLst>
            <pc:docMk/>
            <pc:sldMk cId="1126234879" sldId="1398"/>
            <ac:spMk id="24" creationId="{A303A75E-591A-DCE1-03CA-23A1427BFA3D}"/>
          </ac:spMkLst>
        </pc:spChg>
        <pc:spChg chg="mod">
          <ac:chgData name="Krishna  Patel" userId="ed2200d0-4eed-40c6-ab36-78bc62005773" providerId="ADAL" clId="{E56EB9E9-1E01-4995-937D-98B474E60653}" dt="2025-06-10T09:30:48.759" v="655" actId="2711"/>
          <ac:spMkLst>
            <pc:docMk/>
            <pc:sldMk cId="1126234879" sldId="1398"/>
            <ac:spMk id="47" creationId="{0E50C53C-142E-1331-CAD1-1B16A54BBE6A}"/>
          </ac:spMkLst>
        </pc:spChg>
      </pc:sldChg>
      <pc:sldChg chg="modSp mod">
        <pc:chgData name="Krishna  Patel" userId="ed2200d0-4eed-40c6-ab36-78bc62005773" providerId="ADAL" clId="{E56EB9E9-1E01-4995-937D-98B474E60653}" dt="2025-06-10T09:34:55.977" v="759" actId="1076"/>
        <pc:sldMkLst>
          <pc:docMk/>
          <pc:sldMk cId="1609862685" sldId="1400"/>
        </pc:sldMkLst>
        <pc:spChg chg="mod">
          <ac:chgData name="Krishna  Patel" userId="ed2200d0-4eed-40c6-ab36-78bc62005773" providerId="ADAL" clId="{E56EB9E9-1E01-4995-937D-98B474E60653}" dt="2025-06-10T09:32:59.868" v="687" actId="1036"/>
          <ac:spMkLst>
            <pc:docMk/>
            <pc:sldMk cId="1609862685" sldId="1400"/>
            <ac:spMk id="2" creationId="{42272A1B-B6A1-BB1F-EFC6-4DE789298790}"/>
          </ac:spMkLst>
        </pc:spChg>
        <pc:spChg chg="mod">
          <ac:chgData name="Krishna  Patel" userId="ed2200d0-4eed-40c6-ab36-78bc62005773" providerId="ADAL" clId="{E56EB9E9-1E01-4995-937D-98B474E60653}" dt="2025-06-10T09:32:45.706" v="681" actId="1035"/>
          <ac:spMkLst>
            <pc:docMk/>
            <pc:sldMk cId="1609862685" sldId="1400"/>
            <ac:spMk id="24" creationId="{725363E4-B741-42F9-F5B4-3DAE1EAB0D3B}"/>
          </ac:spMkLst>
        </pc:spChg>
        <pc:spChg chg="mod">
          <ac:chgData name="Krishna  Patel" userId="ed2200d0-4eed-40c6-ab36-78bc62005773" providerId="ADAL" clId="{E56EB9E9-1E01-4995-937D-98B474E60653}" dt="2025-06-10T09:33:23.777" v="692" actId="14100"/>
          <ac:spMkLst>
            <pc:docMk/>
            <pc:sldMk cId="1609862685" sldId="1400"/>
            <ac:spMk id="25" creationId="{32DB49DE-67E4-2B5E-3F94-3682BE482060}"/>
          </ac:spMkLst>
        </pc:spChg>
        <pc:spChg chg="mod">
          <ac:chgData name="Krishna  Patel" userId="ed2200d0-4eed-40c6-ab36-78bc62005773" providerId="ADAL" clId="{E56EB9E9-1E01-4995-937D-98B474E60653}" dt="2025-06-10T09:34:21.558" v="743" actId="1036"/>
          <ac:spMkLst>
            <pc:docMk/>
            <pc:sldMk cId="1609862685" sldId="1400"/>
            <ac:spMk id="27" creationId="{733EC9CD-084D-BA3C-9137-52A058885EC2}"/>
          </ac:spMkLst>
        </pc:spChg>
        <pc:spChg chg="mod">
          <ac:chgData name="Krishna  Patel" userId="ed2200d0-4eed-40c6-ab36-78bc62005773" providerId="ADAL" clId="{E56EB9E9-1E01-4995-937D-98B474E60653}" dt="2025-06-10T09:34:39.111" v="750" actId="1038"/>
          <ac:spMkLst>
            <pc:docMk/>
            <pc:sldMk cId="1609862685" sldId="1400"/>
            <ac:spMk id="29" creationId="{E2F49062-42F9-E540-1C2D-D3D8284255A3}"/>
          </ac:spMkLst>
        </pc:spChg>
      </pc:sldChg>
      <pc:sldChg chg="modSp mod">
        <pc:chgData name="Krishna  Patel" userId="ed2200d0-4eed-40c6-ab36-78bc62005773" providerId="ADAL" clId="{E56EB9E9-1E01-4995-937D-98B474E60653}" dt="2025-06-10T09:37:41.894" v="816" actId="14100"/>
        <pc:sldMkLst>
          <pc:docMk/>
          <pc:sldMk cId="1514397412" sldId="1401"/>
        </pc:sldMkLst>
        <pc:spChg chg="mod">
          <ac:chgData name="Krishna  Patel" userId="ed2200d0-4eed-40c6-ab36-78bc62005773" providerId="ADAL" clId="{E56EB9E9-1E01-4995-937D-98B474E60653}" dt="2025-06-10T09:35:47.514" v="760" actId="2711"/>
          <ac:spMkLst>
            <pc:docMk/>
            <pc:sldMk cId="1514397412" sldId="1401"/>
            <ac:spMk id="2" creationId="{E826995E-5A4D-9E78-1E21-02FCB2C1754C}"/>
          </ac:spMkLst>
        </pc:spChg>
        <pc:spChg chg="mod">
          <ac:chgData name="Krishna  Patel" userId="ed2200d0-4eed-40c6-ab36-78bc62005773" providerId="ADAL" clId="{E56EB9E9-1E01-4995-937D-98B474E60653}" dt="2025-06-10T09:36:00.088" v="769" actId="1037"/>
          <ac:spMkLst>
            <pc:docMk/>
            <pc:sldMk cId="1514397412" sldId="1401"/>
            <ac:spMk id="3" creationId="{BA6D7975-E06E-B952-ED68-0C53082662F5}"/>
          </ac:spMkLst>
        </pc:spChg>
        <pc:spChg chg="mod">
          <ac:chgData name="Krishna  Patel" userId="ed2200d0-4eed-40c6-ab36-78bc62005773" providerId="ADAL" clId="{E56EB9E9-1E01-4995-937D-98B474E60653}" dt="2025-06-10T09:37:41.894" v="816" actId="14100"/>
          <ac:spMkLst>
            <pc:docMk/>
            <pc:sldMk cId="1514397412" sldId="1401"/>
            <ac:spMk id="4" creationId="{3D4C7ECF-D3D1-069F-B2E5-6B2BFFC3504E}"/>
          </ac:spMkLst>
        </pc:spChg>
        <pc:spChg chg="mod">
          <ac:chgData name="Krishna  Patel" userId="ed2200d0-4eed-40c6-ab36-78bc62005773" providerId="ADAL" clId="{E56EB9E9-1E01-4995-937D-98B474E60653}" dt="2025-06-10T09:37:09.881" v="787" actId="1036"/>
          <ac:spMkLst>
            <pc:docMk/>
            <pc:sldMk cId="1514397412" sldId="1401"/>
            <ac:spMk id="7" creationId="{6184B2C6-26FA-D4D7-555C-21D394ABC1ED}"/>
          </ac:spMkLst>
        </pc:spChg>
        <pc:spChg chg="mod">
          <ac:chgData name="Krishna  Patel" userId="ed2200d0-4eed-40c6-ab36-78bc62005773" providerId="ADAL" clId="{E56EB9E9-1E01-4995-937D-98B474E60653}" dt="2025-06-10T09:37:15.594" v="796" actId="1036"/>
          <ac:spMkLst>
            <pc:docMk/>
            <pc:sldMk cId="1514397412" sldId="1401"/>
            <ac:spMk id="8" creationId="{770C1EFD-8681-1D50-C597-082E171F8959}"/>
          </ac:spMkLst>
        </pc:spChg>
        <pc:spChg chg="mod">
          <ac:chgData name="Krishna  Patel" userId="ed2200d0-4eed-40c6-ab36-78bc62005773" providerId="ADAL" clId="{E56EB9E9-1E01-4995-937D-98B474E60653}" dt="2025-06-10T09:37:15.594" v="796" actId="1036"/>
          <ac:spMkLst>
            <pc:docMk/>
            <pc:sldMk cId="1514397412" sldId="1401"/>
            <ac:spMk id="9" creationId="{D696AA28-4218-DC57-4C99-F8911B8372C5}"/>
          </ac:spMkLst>
        </pc:spChg>
        <pc:spChg chg="mod">
          <ac:chgData name="Krishna  Patel" userId="ed2200d0-4eed-40c6-ab36-78bc62005773" providerId="ADAL" clId="{E56EB9E9-1E01-4995-937D-98B474E60653}" dt="2025-06-10T09:37:15.594" v="796" actId="1036"/>
          <ac:spMkLst>
            <pc:docMk/>
            <pc:sldMk cId="1514397412" sldId="1401"/>
            <ac:spMk id="11" creationId="{04D03ABC-F0B9-50D5-D302-8226963A5085}"/>
          </ac:spMkLst>
        </pc:spChg>
        <pc:spChg chg="mod">
          <ac:chgData name="Krishna  Patel" userId="ed2200d0-4eed-40c6-ab36-78bc62005773" providerId="ADAL" clId="{E56EB9E9-1E01-4995-937D-98B474E60653}" dt="2025-06-10T09:37:41.894" v="816" actId="14100"/>
          <ac:spMkLst>
            <pc:docMk/>
            <pc:sldMk cId="1514397412" sldId="1401"/>
            <ac:spMk id="16" creationId="{48225623-D3B3-E13B-AF60-F2600A2EA41E}"/>
          </ac:spMkLst>
        </pc:spChg>
        <pc:spChg chg="mod">
          <ac:chgData name="Krishna  Patel" userId="ed2200d0-4eed-40c6-ab36-78bc62005773" providerId="ADAL" clId="{E56EB9E9-1E01-4995-937D-98B474E60653}" dt="2025-06-10T09:36:10.359" v="771" actId="255"/>
          <ac:spMkLst>
            <pc:docMk/>
            <pc:sldMk cId="1514397412" sldId="1401"/>
            <ac:spMk id="17" creationId="{4453A128-744C-AEDD-170A-56E40C6DDF91}"/>
          </ac:spMkLst>
        </pc:spChg>
        <pc:spChg chg="mod">
          <ac:chgData name="Krishna  Patel" userId="ed2200d0-4eed-40c6-ab36-78bc62005773" providerId="ADAL" clId="{E56EB9E9-1E01-4995-937D-98B474E60653}" dt="2025-06-10T09:37:09.881" v="787" actId="1036"/>
          <ac:spMkLst>
            <pc:docMk/>
            <pc:sldMk cId="1514397412" sldId="1401"/>
            <ac:spMk id="18" creationId="{7D329FBE-361C-0D1A-7E5B-4BE0511C6C4D}"/>
          </ac:spMkLst>
        </pc:spChg>
        <pc:spChg chg="mod">
          <ac:chgData name="Krishna  Patel" userId="ed2200d0-4eed-40c6-ab36-78bc62005773" providerId="ADAL" clId="{E56EB9E9-1E01-4995-937D-98B474E60653}" dt="2025-06-10T09:37:15.594" v="796" actId="1036"/>
          <ac:spMkLst>
            <pc:docMk/>
            <pc:sldMk cId="1514397412" sldId="1401"/>
            <ac:spMk id="19" creationId="{9D13222B-527F-983F-0D58-3B8765989D55}"/>
          </ac:spMkLst>
        </pc:spChg>
        <pc:spChg chg="mod">
          <ac:chgData name="Krishna  Patel" userId="ed2200d0-4eed-40c6-ab36-78bc62005773" providerId="ADAL" clId="{E56EB9E9-1E01-4995-937D-98B474E60653}" dt="2025-06-10T09:37:15.594" v="796" actId="1036"/>
          <ac:spMkLst>
            <pc:docMk/>
            <pc:sldMk cId="1514397412" sldId="1401"/>
            <ac:spMk id="20" creationId="{17EA191E-7FF9-AB90-5A15-C4D9188264F2}"/>
          </ac:spMkLst>
        </pc:spChg>
        <pc:spChg chg="mod">
          <ac:chgData name="Krishna  Patel" userId="ed2200d0-4eed-40c6-ab36-78bc62005773" providerId="ADAL" clId="{E56EB9E9-1E01-4995-937D-98B474E60653}" dt="2025-06-10T09:37:15.594" v="796" actId="1036"/>
          <ac:spMkLst>
            <pc:docMk/>
            <pc:sldMk cId="1514397412" sldId="1401"/>
            <ac:spMk id="22" creationId="{99331468-730A-2E0F-1ECC-21C086B38101}"/>
          </ac:spMkLst>
        </pc:spChg>
        <pc:spChg chg="mod">
          <ac:chgData name="Krishna  Patel" userId="ed2200d0-4eed-40c6-ab36-78bc62005773" providerId="ADAL" clId="{E56EB9E9-1E01-4995-937D-98B474E60653}" dt="2025-06-10T09:35:47.514" v="760" actId="2711"/>
          <ac:spMkLst>
            <pc:docMk/>
            <pc:sldMk cId="1514397412" sldId="1401"/>
            <ac:spMk id="24" creationId="{C2E07931-91E0-411C-0663-A72F79DC64D4}"/>
          </ac:spMkLst>
        </pc:spChg>
      </pc:sldChg>
      <pc:sldChg chg="modSp mod">
        <pc:chgData name="Krishna  Patel" userId="ed2200d0-4eed-40c6-ab36-78bc62005773" providerId="ADAL" clId="{E56EB9E9-1E01-4995-937D-98B474E60653}" dt="2025-06-10T09:39:02.841" v="837" actId="14100"/>
        <pc:sldMkLst>
          <pc:docMk/>
          <pc:sldMk cId="2910876098" sldId="1402"/>
        </pc:sldMkLst>
        <pc:spChg chg="mod">
          <ac:chgData name="Krishna  Patel" userId="ed2200d0-4eed-40c6-ab36-78bc62005773" providerId="ADAL" clId="{E56EB9E9-1E01-4995-937D-98B474E60653}" dt="2025-06-10T09:38:42.193" v="832" actId="1076"/>
          <ac:spMkLst>
            <pc:docMk/>
            <pc:sldMk cId="2910876098" sldId="1402"/>
            <ac:spMk id="24" creationId="{BA3150A2-EDD0-102A-AC0B-FE7FF740332F}"/>
          </ac:spMkLst>
        </pc:spChg>
        <pc:spChg chg="mod">
          <ac:chgData name="Krishna  Patel" userId="ed2200d0-4eed-40c6-ab36-78bc62005773" providerId="ADAL" clId="{E56EB9E9-1E01-4995-937D-98B474E60653}" dt="2025-06-10T09:38:42.193" v="832" actId="1076"/>
          <ac:spMkLst>
            <pc:docMk/>
            <pc:sldMk cId="2910876098" sldId="1402"/>
            <ac:spMk id="25" creationId="{59421FCD-6A80-818C-F858-2A661D4118E4}"/>
          </ac:spMkLst>
        </pc:spChg>
        <pc:spChg chg="mod">
          <ac:chgData name="Krishna  Patel" userId="ed2200d0-4eed-40c6-ab36-78bc62005773" providerId="ADAL" clId="{E56EB9E9-1E01-4995-937D-98B474E60653}" dt="2025-06-10T09:38:31.062" v="830" actId="1076"/>
          <ac:spMkLst>
            <pc:docMk/>
            <pc:sldMk cId="2910876098" sldId="1402"/>
            <ac:spMk id="26" creationId="{4BA73D4B-52CB-6D6E-B4B4-228065C1637D}"/>
          </ac:spMkLst>
        </pc:spChg>
        <pc:spChg chg="mod">
          <ac:chgData name="Krishna  Patel" userId="ed2200d0-4eed-40c6-ab36-78bc62005773" providerId="ADAL" clId="{E56EB9E9-1E01-4995-937D-98B474E60653}" dt="2025-06-10T09:38:42.193" v="832" actId="1076"/>
          <ac:spMkLst>
            <pc:docMk/>
            <pc:sldMk cId="2910876098" sldId="1402"/>
            <ac:spMk id="27" creationId="{0ED27D50-DC7A-FF9F-DFAF-DB282255223F}"/>
          </ac:spMkLst>
        </pc:spChg>
        <pc:spChg chg="mod">
          <ac:chgData name="Krishna  Patel" userId="ed2200d0-4eed-40c6-ab36-78bc62005773" providerId="ADAL" clId="{E56EB9E9-1E01-4995-937D-98B474E60653}" dt="2025-06-10T09:37:56.515" v="826" actId="1037"/>
          <ac:spMkLst>
            <pc:docMk/>
            <pc:sldMk cId="2910876098" sldId="1402"/>
            <ac:spMk id="52" creationId="{D88C12B6-19E3-B9F7-C6AC-68B518676271}"/>
          </ac:spMkLst>
        </pc:spChg>
      </pc:sldChg>
      <pc:sldChg chg="modSp mod">
        <pc:chgData name="Krishna  Patel" userId="ed2200d0-4eed-40c6-ab36-78bc62005773" providerId="ADAL" clId="{E56EB9E9-1E01-4995-937D-98B474E60653}" dt="2025-06-10T09:40:48.129" v="873" actId="1036"/>
        <pc:sldMkLst>
          <pc:docMk/>
          <pc:sldMk cId="1359705919" sldId="1404"/>
        </pc:sldMkLst>
        <pc:spChg chg="mod">
          <ac:chgData name="Krishna  Patel" userId="ed2200d0-4eed-40c6-ab36-78bc62005773" providerId="ADAL" clId="{E56EB9E9-1E01-4995-937D-98B474E60653}" dt="2025-06-10T09:39:51.344" v="856" actId="1037"/>
          <ac:spMkLst>
            <pc:docMk/>
            <pc:sldMk cId="1359705919" sldId="1404"/>
            <ac:spMk id="3" creationId="{E773CE22-F5C5-BC43-9DB0-6EF7DCE6362C}"/>
          </ac:spMkLst>
        </pc:spChg>
        <pc:spChg chg="mod">
          <ac:chgData name="Krishna  Patel" userId="ed2200d0-4eed-40c6-ab36-78bc62005773" providerId="ADAL" clId="{E56EB9E9-1E01-4995-937D-98B474E60653}" dt="2025-06-10T09:40:33.393" v="868" actId="1076"/>
          <ac:spMkLst>
            <pc:docMk/>
            <pc:sldMk cId="1359705919" sldId="1404"/>
            <ac:spMk id="7" creationId="{1C160070-EDF1-4491-4A07-EF9BA510B73F}"/>
          </ac:spMkLst>
        </pc:spChg>
      </pc:sldChg>
      <pc:sldChg chg="modSp mod">
        <pc:chgData name="Krishna  Patel" userId="ed2200d0-4eed-40c6-ab36-78bc62005773" providerId="ADAL" clId="{E56EB9E9-1E01-4995-937D-98B474E60653}" dt="2025-06-10T09:46:49.287" v="1024" actId="14100"/>
        <pc:sldMkLst>
          <pc:docMk/>
          <pc:sldMk cId="1618323921" sldId="1405"/>
        </pc:sldMkLst>
        <pc:spChg chg="mod">
          <ac:chgData name="Krishna  Patel" userId="ed2200d0-4eed-40c6-ab36-78bc62005773" providerId="ADAL" clId="{E56EB9E9-1E01-4995-937D-98B474E60653}" dt="2025-06-10T09:46:49.287" v="1024" actId="14100"/>
          <ac:spMkLst>
            <pc:docMk/>
            <pc:sldMk cId="1618323921" sldId="1405"/>
            <ac:spMk id="24" creationId="{06F22B71-75AE-A860-5B6E-69C475E23492}"/>
          </ac:spMkLst>
        </pc:spChg>
        <pc:spChg chg="mod">
          <ac:chgData name="Krishna  Patel" userId="ed2200d0-4eed-40c6-ab36-78bc62005773" providerId="ADAL" clId="{E56EB9E9-1E01-4995-937D-98B474E60653}" dt="2025-06-10T09:45:19.380" v="925" actId="403"/>
          <ac:spMkLst>
            <pc:docMk/>
            <pc:sldMk cId="1618323921" sldId="1405"/>
            <ac:spMk id="25" creationId="{400522A5-CBC4-16A7-AD4D-3C9A19BEDDB4}"/>
          </ac:spMkLst>
        </pc:spChg>
        <pc:spChg chg="mod">
          <ac:chgData name="Krishna  Patel" userId="ed2200d0-4eed-40c6-ab36-78bc62005773" providerId="ADAL" clId="{E56EB9E9-1E01-4995-937D-98B474E60653}" dt="2025-06-10T09:45:35.578" v="928" actId="1036"/>
          <ac:spMkLst>
            <pc:docMk/>
            <pc:sldMk cId="1618323921" sldId="1405"/>
            <ac:spMk id="30" creationId="{C31AEF79-CFA1-859D-6ABD-8FD58C12903B}"/>
          </ac:spMkLst>
        </pc:spChg>
        <pc:spChg chg="mod">
          <ac:chgData name="Krishna  Patel" userId="ed2200d0-4eed-40c6-ab36-78bc62005773" providerId="ADAL" clId="{E56EB9E9-1E01-4995-937D-98B474E60653}" dt="2025-06-10T09:46:18.724" v="997" actId="1035"/>
          <ac:spMkLst>
            <pc:docMk/>
            <pc:sldMk cId="1618323921" sldId="1405"/>
            <ac:spMk id="32" creationId="{9E6A3CDD-7A58-E693-C0E5-456532F633A5}"/>
          </ac:spMkLst>
        </pc:spChg>
        <pc:spChg chg="mod">
          <ac:chgData name="Krishna  Patel" userId="ed2200d0-4eed-40c6-ab36-78bc62005773" providerId="ADAL" clId="{E56EB9E9-1E01-4995-937D-98B474E60653}" dt="2025-06-10T09:46:18.724" v="997" actId="1035"/>
          <ac:spMkLst>
            <pc:docMk/>
            <pc:sldMk cId="1618323921" sldId="1405"/>
            <ac:spMk id="33" creationId="{21A30F5B-7B36-FCD4-CFED-632F21EEAB6D}"/>
          </ac:spMkLst>
        </pc:spChg>
        <pc:spChg chg="mod">
          <ac:chgData name="Krishna  Patel" userId="ed2200d0-4eed-40c6-ab36-78bc62005773" providerId="ADAL" clId="{E56EB9E9-1E01-4995-937D-98B474E60653}" dt="2025-06-10T09:46:27.589" v="1005" actId="1036"/>
          <ac:spMkLst>
            <pc:docMk/>
            <pc:sldMk cId="1618323921" sldId="1405"/>
            <ac:spMk id="35" creationId="{30DE7914-A4BC-FF30-EF2D-E04572182810}"/>
          </ac:spMkLst>
        </pc:spChg>
        <pc:spChg chg="mod">
          <ac:chgData name="Krishna  Patel" userId="ed2200d0-4eed-40c6-ab36-78bc62005773" providerId="ADAL" clId="{E56EB9E9-1E01-4995-937D-98B474E60653}" dt="2025-06-10T09:46:27.589" v="1005" actId="1036"/>
          <ac:spMkLst>
            <pc:docMk/>
            <pc:sldMk cId="1618323921" sldId="1405"/>
            <ac:spMk id="45" creationId="{BB46AB0F-730A-C378-3E71-DC2064622A97}"/>
          </ac:spMkLst>
        </pc:spChg>
        <pc:spChg chg="mod">
          <ac:chgData name="Krishna  Patel" userId="ed2200d0-4eed-40c6-ab36-78bc62005773" providerId="ADAL" clId="{E56EB9E9-1E01-4995-937D-98B474E60653}" dt="2025-06-10T09:46:45.346" v="1023" actId="14100"/>
          <ac:spMkLst>
            <pc:docMk/>
            <pc:sldMk cId="1618323921" sldId="1405"/>
            <ac:spMk id="46" creationId="{F318A3A0-77E2-C509-3550-36B84968A26E}"/>
          </ac:spMkLst>
        </pc:spChg>
        <pc:spChg chg="mod">
          <ac:chgData name="Krishna  Patel" userId="ed2200d0-4eed-40c6-ab36-78bc62005773" providerId="ADAL" clId="{E56EB9E9-1E01-4995-937D-98B474E60653}" dt="2025-06-10T09:45:19.380" v="925" actId="403"/>
          <ac:spMkLst>
            <pc:docMk/>
            <pc:sldMk cId="1618323921" sldId="1405"/>
            <ac:spMk id="48" creationId="{6E7922E8-7DD1-A113-97C6-1D7147EB486C}"/>
          </ac:spMkLst>
        </pc:spChg>
        <pc:spChg chg="mod">
          <ac:chgData name="Krishna  Patel" userId="ed2200d0-4eed-40c6-ab36-78bc62005773" providerId="ADAL" clId="{E56EB9E9-1E01-4995-937D-98B474E60653}" dt="2025-06-10T09:45:19.380" v="925" actId="403"/>
          <ac:spMkLst>
            <pc:docMk/>
            <pc:sldMk cId="1618323921" sldId="1405"/>
            <ac:spMk id="49" creationId="{87FB7AE1-6425-958F-81BA-8C8F6071A6A7}"/>
          </ac:spMkLst>
        </pc:spChg>
        <pc:spChg chg="mod">
          <ac:chgData name="Krishna  Patel" userId="ed2200d0-4eed-40c6-ab36-78bc62005773" providerId="ADAL" clId="{E56EB9E9-1E01-4995-937D-98B474E60653}" dt="2025-06-10T09:45:39.807" v="930" actId="1076"/>
          <ac:spMkLst>
            <pc:docMk/>
            <pc:sldMk cId="1618323921" sldId="1405"/>
            <ac:spMk id="53" creationId="{6494268B-02B7-2880-9188-399D0A99FF6E}"/>
          </ac:spMkLst>
        </pc:spChg>
        <pc:spChg chg="mod">
          <ac:chgData name="Krishna  Patel" userId="ed2200d0-4eed-40c6-ab36-78bc62005773" providerId="ADAL" clId="{E56EB9E9-1E01-4995-937D-98B474E60653}" dt="2025-06-10T09:46:04.025" v="974" actId="1036"/>
          <ac:spMkLst>
            <pc:docMk/>
            <pc:sldMk cId="1618323921" sldId="1405"/>
            <ac:spMk id="55" creationId="{4A122708-E8A8-6662-183E-121CC580BA4E}"/>
          </ac:spMkLst>
        </pc:spChg>
        <pc:spChg chg="mod">
          <ac:chgData name="Krishna  Patel" userId="ed2200d0-4eed-40c6-ab36-78bc62005773" providerId="ADAL" clId="{E56EB9E9-1E01-4995-937D-98B474E60653}" dt="2025-06-10T09:46:21.339" v="999" actId="1036"/>
          <ac:spMkLst>
            <pc:docMk/>
            <pc:sldMk cId="1618323921" sldId="1405"/>
            <ac:spMk id="56" creationId="{59248990-0983-19BF-4BFC-D813678FE47A}"/>
          </ac:spMkLst>
        </pc:spChg>
        <pc:spChg chg="mod">
          <ac:chgData name="Krishna  Patel" userId="ed2200d0-4eed-40c6-ab36-78bc62005773" providerId="ADAL" clId="{E56EB9E9-1E01-4995-937D-98B474E60653}" dt="2025-06-10T09:46:38.930" v="1021" actId="1036"/>
          <ac:spMkLst>
            <pc:docMk/>
            <pc:sldMk cId="1618323921" sldId="1405"/>
            <ac:spMk id="58" creationId="{62C4F3B9-ED4B-23BA-E22F-230542EED3E3}"/>
          </ac:spMkLst>
        </pc:spChg>
        <pc:spChg chg="mod">
          <ac:chgData name="Krishna  Patel" userId="ed2200d0-4eed-40c6-ab36-78bc62005773" providerId="ADAL" clId="{E56EB9E9-1E01-4995-937D-98B474E60653}" dt="2025-06-10T09:46:38.930" v="1021" actId="1036"/>
          <ac:spMkLst>
            <pc:docMk/>
            <pc:sldMk cId="1618323921" sldId="1405"/>
            <ac:spMk id="59" creationId="{EA59B924-245E-32D2-B5E0-E2566C98AF24}"/>
          </ac:spMkLst>
        </pc:spChg>
      </pc:sldChg>
      <pc:sldChg chg="modSp mod">
        <pc:chgData name="Krishna  Patel" userId="ed2200d0-4eed-40c6-ab36-78bc62005773" providerId="ADAL" clId="{E56EB9E9-1E01-4995-937D-98B474E60653}" dt="2025-06-10T09:48:29.486" v="1103" actId="14100"/>
        <pc:sldMkLst>
          <pc:docMk/>
          <pc:sldMk cId="767093200" sldId="1406"/>
        </pc:sldMkLst>
        <pc:spChg chg="mod">
          <ac:chgData name="Krishna  Patel" userId="ed2200d0-4eed-40c6-ab36-78bc62005773" providerId="ADAL" clId="{E56EB9E9-1E01-4995-937D-98B474E60653}" dt="2025-06-10T09:47:52.214" v="1063" actId="14100"/>
          <ac:spMkLst>
            <pc:docMk/>
            <pc:sldMk cId="767093200" sldId="1406"/>
            <ac:spMk id="3" creationId="{76BFB7DC-8B74-47AD-0063-FC6A7F5FBF89}"/>
          </ac:spMkLst>
        </pc:spChg>
        <pc:spChg chg="mod">
          <ac:chgData name="Krishna  Patel" userId="ed2200d0-4eed-40c6-ab36-78bc62005773" providerId="ADAL" clId="{E56EB9E9-1E01-4995-937D-98B474E60653}" dt="2025-06-10T09:47:09.512" v="1030" actId="403"/>
          <ac:spMkLst>
            <pc:docMk/>
            <pc:sldMk cId="767093200" sldId="1406"/>
            <ac:spMk id="4" creationId="{AB5A6340-3E8C-7AB4-8E24-319C96FD9EBB}"/>
          </ac:spMkLst>
        </pc:spChg>
        <pc:spChg chg="mod">
          <ac:chgData name="Krishna  Patel" userId="ed2200d0-4eed-40c6-ab36-78bc62005773" providerId="ADAL" clId="{E56EB9E9-1E01-4995-937D-98B474E60653}" dt="2025-06-10T09:47:02.381" v="1029" actId="1035"/>
          <ac:spMkLst>
            <pc:docMk/>
            <pc:sldMk cId="767093200" sldId="1406"/>
            <ac:spMk id="6" creationId="{EDBA6B79-16F7-1D80-6293-0AB36935FFA6}"/>
          </ac:spMkLst>
        </pc:spChg>
        <pc:spChg chg="mod">
          <ac:chgData name="Krishna  Patel" userId="ed2200d0-4eed-40c6-ab36-78bc62005773" providerId="ADAL" clId="{E56EB9E9-1E01-4995-937D-98B474E60653}" dt="2025-06-10T09:47:52.214" v="1063" actId="14100"/>
          <ac:spMkLst>
            <pc:docMk/>
            <pc:sldMk cId="767093200" sldId="1406"/>
            <ac:spMk id="8" creationId="{DA9D6749-8980-B90D-0A9C-0B22CB2D0AFD}"/>
          </ac:spMkLst>
        </pc:spChg>
        <pc:spChg chg="mod">
          <ac:chgData name="Krishna  Patel" userId="ed2200d0-4eed-40c6-ab36-78bc62005773" providerId="ADAL" clId="{E56EB9E9-1E01-4995-937D-98B474E60653}" dt="2025-06-10T09:47:31.219" v="1051" actId="1036"/>
          <ac:spMkLst>
            <pc:docMk/>
            <pc:sldMk cId="767093200" sldId="1406"/>
            <ac:spMk id="11" creationId="{17FD6D6A-32B5-6D3F-7F1B-661D659A2332}"/>
          </ac:spMkLst>
        </pc:spChg>
        <pc:spChg chg="mod">
          <ac:chgData name="Krishna  Patel" userId="ed2200d0-4eed-40c6-ab36-78bc62005773" providerId="ADAL" clId="{E56EB9E9-1E01-4995-937D-98B474E60653}" dt="2025-06-10T09:47:22.247" v="1043" actId="1036"/>
          <ac:spMkLst>
            <pc:docMk/>
            <pc:sldMk cId="767093200" sldId="1406"/>
            <ac:spMk id="13" creationId="{54256C06-76AB-99DB-23C8-1673B56A1B13}"/>
          </ac:spMkLst>
        </pc:spChg>
        <pc:spChg chg="mod">
          <ac:chgData name="Krishna  Patel" userId="ed2200d0-4eed-40c6-ab36-78bc62005773" providerId="ADAL" clId="{E56EB9E9-1E01-4995-937D-98B474E60653}" dt="2025-06-10T09:47:45.235" v="1057" actId="1036"/>
          <ac:spMkLst>
            <pc:docMk/>
            <pc:sldMk cId="767093200" sldId="1406"/>
            <ac:spMk id="14" creationId="{7CC4F909-B328-F1EB-2667-1CC0AD1A637A}"/>
          </ac:spMkLst>
        </pc:spChg>
        <pc:spChg chg="mod">
          <ac:chgData name="Krishna  Patel" userId="ed2200d0-4eed-40c6-ab36-78bc62005773" providerId="ADAL" clId="{E56EB9E9-1E01-4995-937D-98B474E60653}" dt="2025-06-10T09:47:22.247" v="1043" actId="1036"/>
          <ac:spMkLst>
            <pc:docMk/>
            <pc:sldMk cId="767093200" sldId="1406"/>
            <ac:spMk id="16" creationId="{2B68722F-8ECC-B75F-9B8D-8C7702B6FECC}"/>
          </ac:spMkLst>
        </pc:spChg>
        <pc:spChg chg="mod">
          <ac:chgData name="Krishna  Patel" userId="ed2200d0-4eed-40c6-ab36-78bc62005773" providerId="ADAL" clId="{E56EB9E9-1E01-4995-937D-98B474E60653}" dt="2025-06-10T09:47:48.457" v="1062" actId="1036"/>
          <ac:spMkLst>
            <pc:docMk/>
            <pc:sldMk cId="767093200" sldId="1406"/>
            <ac:spMk id="17" creationId="{2DCEBCD8-1526-3ED3-E82A-26AFB5B5D5D6}"/>
          </ac:spMkLst>
        </pc:spChg>
        <pc:spChg chg="mod">
          <ac:chgData name="Krishna  Patel" userId="ed2200d0-4eed-40c6-ab36-78bc62005773" providerId="ADAL" clId="{E56EB9E9-1E01-4995-937D-98B474E60653}" dt="2025-06-10T09:48:29.486" v="1103" actId="14100"/>
          <ac:spMkLst>
            <pc:docMk/>
            <pc:sldMk cId="767093200" sldId="1406"/>
            <ac:spMk id="18" creationId="{BC482D51-05BA-44EA-648D-7CA7578882B7}"/>
          </ac:spMkLst>
        </pc:spChg>
        <pc:spChg chg="mod">
          <ac:chgData name="Krishna  Patel" userId="ed2200d0-4eed-40c6-ab36-78bc62005773" providerId="ADAL" clId="{E56EB9E9-1E01-4995-937D-98B474E60653}" dt="2025-06-10T09:48:23.774" v="1098" actId="14100"/>
          <ac:spMkLst>
            <pc:docMk/>
            <pc:sldMk cId="767093200" sldId="1406"/>
            <ac:spMk id="21" creationId="{6E4BED46-8B22-8874-11A8-9097D4D68640}"/>
          </ac:spMkLst>
        </pc:spChg>
        <pc:spChg chg="mod">
          <ac:chgData name="Krishna  Patel" userId="ed2200d0-4eed-40c6-ab36-78bc62005773" providerId="ADAL" clId="{E56EB9E9-1E01-4995-937D-98B474E60653}" dt="2025-06-10T09:47:37.318" v="1053" actId="1076"/>
          <ac:spMkLst>
            <pc:docMk/>
            <pc:sldMk cId="767093200" sldId="1406"/>
            <ac:spMk id="36" creationId="{187B4653-3971-A029-2D76-09528D3EA77E}"/>
          </ac:spMkLst>
        </pc:spChg>
        <pc:spChg chg="mod">
          <ac:chgData name="Krishna  Patel" userId="ed2200d0-4eed-40c6-ab36-78bc62005773" providerId="ADAL" clId="{E56EB9E9-1E01-4995-937D-98B474E60653}" dt="2025-06-10T09:48:15.614" v="1095" actId="1036"/>
          <ac:spMkLst>
            <pc:docMk/>
            <pc:sldMk cId="767093200" sldId="1406"/>
            <ac:spMk id="38" creationId="{BAFA2A79-558F-5B7E-3497-3D35C601E580}"/>
          </ac:spMkLst>
        </pc:spChg>
        <pc:spChg chg="mod">
          <ac:chgData name="Krishna  Patel" userId="ed2200d0-4eed-40c6-ab36-78bc62005773" providerId="ADAL" clId="{E56EB9E9-1E01-4995-937D-98B474E60653}" dt="2025-06-10T09:48:20.060" v="1097" actId="1038"/>
          <ac:spMkLst>
            <pc:docMk/>
            <pc:sldMk cId="767093200" sldId="1406"/>
            <ac:spMk id="39" creationId="{75578027-6CBE-CFC6-1CFD-B7A703471D9E}"/>
          </ac:spMkLst>
        </pc:spChg>
        <pc:spChg chg="mod">
          <ac:chgData name="Krishna  Patel" userId="ed2200d0-4eed-40c6-ab36-78bc62005773" providerId="ADAL" clId="{E56EB9E9-1E01-4995-937D-98B474E60653}" dt="2025-06-10T09:48:12.178" v="1090" actId="1036"/>
          <ac:spMkLst>
            <pc:docMk/>
            <pc:sldMk cId="767093200" sldId="1406"/>
            <ac:spMk id="41" creationId="{BAACA959-DE88-9AFC-A9DF-95C346E3CF47}"/>
          </ac:spMkLst>
        </pc:spChg>
        <pc:spChg chg="mod">
          <ac:chgData name="Krishna  Patel" userId="ed2200d0-4eed-40c6-ab36-78bc62005773" providerId="ADAL" clId="{E56EB9E9-1E01-4995-937D-98B474E60653}" dt="2025-06-10T09:48:26.980" v="1102" actId="1035"/>
          <ac:spMkLst>
            <pc:docMk/>
            <pc:sldMk cId="767093200" sldId="1406"/>
            <ac:spMk id="42" creationId="{DD33F67C-1BE3-03BD-08B2-AA1531ED4602}"/>
          </ac:spMkLst>
        </pc:spChg>
      </pc:sldChg>
      <pc:sldChg chg="modSp mod">
        <pc:chgData name="Krishna  Patel" userId="ed2200d0-4eed-40c6-ab36-78bc62005773" providerId="ADAL" clId="{E56EB9E9-1E01-4995-937D-98B474E60653}" dt="2025-06-10T09:43:54.903" v="922" actId="1076"/>
        <pc:sldMkLst>
          <pc:docMk/>
          <pc:sldMk cId="4031355153" sldId="1407"/>
        </pc:sldMkLst>
        <pc:spChg chg="mod">
          <ac:chgData name="Krishna  Patel" userId="ed2200d0-4eed-40c6-ab36-78bc62005773" providerId="ADAL" clId="{E56EB9E9-1E01-4995-937D-98B474E60653}" dt="2025-06-10T09:41:02.837" v="874" actId="2711"/>
          <ac:spMkLst>
            <pc:docMk/>
            <pc:sldMk cId="4031355153" sldId="1407"/>
            <ac:spMk id="2" creationId="{401E0793-1959-FBD3-0004-B39291841520}"/>
          </ac:spMkLst>
        </pc:spChg>
        <pc:spChg chg="mod">
          <ac:chgData name="Krishna  Patel" userId="ed2200d0-4eed-40c6-ab36-78bc62005773" providerId="ADAL" clId="{E56EB9E9-1E01-4995-937D-98B474E60653}" dt="2025-06-10T09:43:46.439" v="920" actId="14100"/>
          <ac:spMkLst>
            <pc:docMk/>
            <pc:sldMk cId="4031355153" sldId="1407"/>
            <ac:spMk id="7" creationId="{C9270055-A479-BB12-C076-3ED1775D8CE6}"/>
          </ac:spMkLst>
        </pc:spChg>
        <pc:spChg chg="mod">
          <ac:chgData name="Krishna  Patel" userId="ed2200d0-4eed-40c6-ab36-78bc62005773" providerId="ADAL" clId="{E56EB9E9-1E01-4995-937D-98B474E60653}" dt="2025-06-10T09:41:19.443" v="884" actId="255"/>
          <ac:spMkLst>
            <pc:docMk/>
            <pc:sldMk cId="4031355153" sldId="1407"/>
            <ac:spMk id="9" creationId="{BD42ED69-5C9C-CAEF-6D68-F81469F2D284}"/>
          </ac:spMkLst>
        </pc:spChg>
        <pc:spChg chg="mod">
          <ac:chgData name="Krishna  Patel" userId="ed2200d0-4eed-40c6-ab36-78bc62005773" providerId="ADAL" clId="{E56EB9E9-1E01-4995-937D-98B474E60653}" dt="2025-06-10T09:43:54.903" v="922" actId="1076"/>
          <ac:spMkLst>
            <pc:docMk/>
            <pc:sldMk cId="4031355153" sldId="1407"/>
            <ac:spMk id="12" creationId="{54C38008-8C8C-5EF6-FF4E-60CCB59844AE}"/>
          </ac:spMkLst>
        </pc:spChg>
        <pc:spChg chg="mod">
          <ac:chgData name="Krishna  Patel" userId="ed2200d0-4eed-40c6-ab36-78bc62005773" providerId="ADAL" clId="{E56EB9E9-1E01-4995-937D-98B474E60653}" dt="2025-06-10T09:43:54.903" v="922" actId="1076"/>
          <ac:spMkLst>
            <pc:docMk/>
            <pc:sldMk cId="4031355153" sldId="1407"/>
            <ac:spMk id="13" creationId="{D10B870E-A7EE-D17C-27DA-41BBC623BFB2}"/>
          </ac:spMkLst>
        </pc:spChg>
        <pc:spChg chg="mod">
          <ac:chgData name="Krishna  Patel" userId="ed2200d0-4eed-40c6-ab36-78bc62005773" providerId="ADAL" clId="{E56EB9E9-1E01-4995-937D-98B474E60653}" dt="2025-06-10T09:43:54.903" v="922" actId="1076"/>
          <ac:spMkLst>
            <pc:docMk/>
            <pc:sldMk cId="4031355153" sldId="1407"/>
            <ac:spMk id="15" creationId="{88CC4477-9CB7-1C86-A317-A794A031ABA5}"/>
          </ac:spMkLst>
        </pc:spChg>
        <pc:spChg chg="mod">
          <ac:chgData name="Krishna  Patel" userId="ed2200d0-4eed-40c6-ab36-78bc62005773" providerId="ADAL" clId="{E56EB9E9-1E01-4995-937D-98B474E60653}" dt="2025-06-10T09:43:54.903" v="922" actId="1076"/>
          <ac:spMkLst>
            <pc:docMk/>
            <pc:sldMk cId="4031355153" sldId="1407"/>
            <ac:spMk id="16" creationId="{3BF03EF1-7B18-8011-DEF6-B40E5EDC4448}"/>
          </ac:spMkLst>
        </pc:spChg>
        <pc:spChg chg="mod">
          <ac:chgData name="Krishna  Patel" userId="ed2200d0-4eed-40c6-ab36-78bc62005773" providerId="ADAL" clId="{E56EB9E9-1E01-4995-937D-98B474E60653}" dt="2025-06-10T09:43:54.903" v="922" actId="1076"/>
          <ac:spMkLst>
            <pc:docMk/>
            <pc:sldMk cId="4031355153" sldId="1407"/>
            <ac:spMk id="18" creationId="{491F3F00-3CA3-2B04-F333-F8D165F26D49}"/>
          </ac:spMkLst>
        </pc:spChg>
        <pc:spChg chg="mod">
          <ac:chgData name="Krishna  Patel" userId="ed2200d0-4eed-40c6-ab36-78bc62005773" providerId="ADAL" clId="{E56EB9E9-1E01-4995-937D-98B474E60653}" dt="2025-06-10T09:43:54.903" v="922" actId="1076"/>
          <ac:spMkLst>
            <pc:docMk/>
            <pc:sldMk cId="4031355153" sldId="1407"/>
            <ac:spMk id="19" creationId="{5F07D630-B207-8FBC-D850-E19D1775FD5E}"/>
          </ac:spMkLst>
        </pc:spChg>
        <pc:spChg chg="mod">
          <ac:chgData name="Krishna  Patel" userId="ed2200d0-4eed-40c6-ab36-78bc62005773" providerId="ADAL" clId="{E56EB9E9-1E01-4995-937D-98B474E60653}" dt="2025-06-10T09:41:41.806" v="889" actId="14100"/>
          <ac:spMkLst>
            <pc:docMk/>
            <pc:sldMk cId="4031355153" sldId="1407"/>
            <ac:spMk id="20" creationId="{F45FCD83-CC0A-8728-30B8-D03960CA54F7}"/>
          </ac:spMkLst>
        </pc:spChg>
        <pc:spChg chg="mod">
          <ac:chgData name="Krishna  Patel" userId="ed2200d0-4eed-40c6-ab36-78bc62005773" providerId="ADAL" clId="{E56EB9E9-1E01-4995-937D-98B474E60653}" dt="2025-06-10T09:41:02.837" v="874" actId="2711"/>
          <ac:spMkLst>
            <pc:docMk/>
            <pc:sldMk cId="4031355153" sldId="1407"/>
            <ac:spMk id="21" creationId="{1FBFF00A-1EEE-C6E6-4A02-2D80600AB0CB}"/>
          </ac:spMkLst>
        </pc:spChg>
        <pc:spChg chg="mod">
          <ac:chgData name="Krishna  Patel" userId="ed2200d0-4eed-40c6-ab36-78bc62005773" providerId="ADAL" clId="{E56EB9E9-1E01-4995-937D-98B474E60653}" dt="2025-06-10T09:41:02.837" v="874" actId="2711"/>
          <ac:spMkLst>
            <pc:docMk/>
            <pc:sldMk cId="4031355153" sldId="1407"/>
            <ac:spMk id="22" creationId="{0A1AACD9-EA29-8AA4-D464-62DA16BF307A}"/>
          </ac:spMkLst>
        </pc:spChg>
        <pc:spChg chg="mod">
          <ac:chgData name="Krishna  Patel" userId="ed2200d0-4eed-40c6-ab36-78bc62005773" providerId="ADAL" clId="{E56EB9E9-1E01-4995-937D-98B474E60653}" dt="2025-06-10T09:42:36.112" v="906" actId="1036"/>
          <ac:spMkLst>
            <pc:docMk/>
            <pc:sldMk cId="4031355153" sldId="1407"/>
            <ac:spMk id="37" creationId="{B451DFBC-6207-521D-A637-3B67B8E1A499}"/>
          </ac:spMkLst>
        </pc:spChg>
        <pc:spChg chg="mod">
          <ac:chgData name="Krishna  Patel" userId="ed2200d0-4eed-40c6-ab36-78bc62005773" providerId="ADAL" clId="{E56EB9E9-1E01-4995-937D-98B474E60653}" dt="2025-06-10T09:42:36.112" v="906" actId="1036"/>
          <ac:spMkLst>
            <pc:docMk/>
            <pc:sldMk cId="4031355153" sldId="1407"/>
            <ac:spMk id="38" creationId="{928C2546-7BBA-E10E-A713-37B3BA312798}"/>
          </ac:spMkLst>
        </pc:spChg>
        <pc:spChg chg="mod">
          <ac:chgData name="Krishna  Patel" userId="ed2200d0-4eed-40c6-ab36-78bc62005773" providerId="ADAL" clId="{E56EB9E9-1E01-4995-937D-98B474E60653}" dt="2025-06-10T09:42:36.112" v="906" actId="1036"/>
          <ac:spMkLst>
            <pc:docMk/>
            <pc:sldMk cId="4031355153" sldId="1407"/>
            <ac:spMk id="40" creationId="{1C121322-5260-23E9-A456-FFD42133322D}"/>
          </ac:spMkLst>
        </pc:spChg>
        <pc:spChg chg="mod">
          <ac:chgData name="Krishna  Patel" userId="ed2200d0-4eed-40c6-ab36-78bc62005773" providerId="ADAL" clId="{E56EB9E9-1E01-4995-937D-98B474E60653}" dt="2025-06-10T09:42:36.112" v="906" actId="1036"/>
          <ac:spMkLst>
            <pc:docMk/>
            <pc:sldMk cId="4031355153" sldId="1407"/>
            <ac:spMk id="41" creationId="{2FFCB2B7-3B42-7FE5-0525-EBD11F9CB0BE}"/>
          </ac:spMkLst>
        </pc:spChg>
        <pc:spChg chg="mod">
          <ac:chgData name="Krishna  Patel" userId="ed2200d0-4eed-40c6-ab36-78bc62005773" providerId="ADAL" clId="{E56EB9E9-1E01-4995-937D-98B474E60653}" dt="2025-06-10T09:42:36.112" v="906" actId="1036"/>
          <ac:spMkLst>
            <pc:docMk/>
            <pc:sldMk cId="4031355153" sldId="1407"/>
            <ac:spMk id="43" creationId="{D81E1F52-81C4-0FA4-7F5A-B2702464248F}"/>
          </ac:spMkLst>
        </pc:spChg>
        <pc:spChg chg="mod">
          <ac:chgData name="Krishna  Patel" userId="ed2200d0-4eed-40c6-ab36-78bc62005773" providerId="ADAL" clId="{E56EB9E9-1E01-4995-937D-98B474E60653}" dt="2025-06-10T09:42:36.112" v="906" actId="1036"/>
          <ac:spMkLst>
            <pc:docMk/>
            <pc:sldMk cId="4031355153" sldId="1407"/>
            <ac:spMk id="44" creationId="{5F9868CA-D8D2-4604-D1BC-49240AC162A9}"/>
          </ac:spMkLst>
        </pc:spChg>
      </pc:sldChg>
      <pc:sldChg chg="addSp modSp mod">
        <pc:chgData name="Krishna  Patel" userId="ed2200d0-4eed-40c6-ab36-78bc62005773" providerId="ADAL" clId="{E56EB9E9-1E01-4995-937D-98B474E60653}" dt="2025-06-10T09:50:32.375" v="1155" actId="1076"/>
        <pc:sldMkLst>
          <pc:docMk/>
          <pc:sldMk cId="1180124282" sldId="1409"/>
        </pc:sldMkLst>
        <pc:spChg chg="mod">
          <ac:chgData name="Krishna  Patel" userId="ed2200d0-4eed-40c6-ab36-78bc62005773" providerId="ADAL" clId="{E56EB9E9-1E01-4995-937D-98B474E60653}" dt="2025-06-10T09:48:36.919" v="1105" actId="1076"/>
          <ac:spMkLst>
            <pc:docMk/>
            <pc:sldMk cId="1180124282" sldId="1409"/>
            <ac:spMk id="24" creationId="{AF8F080C-A1D4-9432-DBFC-3372BCC72BA5}"/>
          </ac:spMkLst>
        </pc:spChg>
        <pc:spChg chg="mod">
          <ac:chgData name="Krishna  Patel" userId="ed2200d0-4eed-40c6-ab36-78bc62005773" providerId="ADAL" clId="{E56EB9E9-1E01-4995-937D-98B474E60653}" dt="2025-06-10T09:48:47.894" v="1109" actId="1076"/>
          <ac:spMkLst>
            <pc:docMk/>
            <pc:sldMk cId="1180124282" sldId="1409"/>
            <ac:spMk id="25" creationId="{C8A189D6-3565-5431-5D62-978E2B355E99}"/>
          </ac:spMkLst>
        </pc:spChg>
        <pc:spChg chg="mod">
          <ac:chgData name="Krishna  Patel" userId="ed2200d0-4eed-40c6-ab36-78bc62005773" providerId="ADAL" clId="{E56EB9E9-1E01-4995-937D-98B474E60653}" dt="2025-06-10T09:50:32.375" v="1155" actId="1076"/>
          <ac:spMkLst>
            <pc:docMk/>
            <pc:sldMk cId="1180124282" sldId="1409"/>
            <ac:spMk id="27" creationId="{43234940-0A07-55EA-319F-4F0D94ACEB22}"/>
          </ac:spMkLst>
        </pc:spChg>
        <pc:spChg chg="mod">
          <ac:chgData name="Krishna  Patel" userId="ed2200d0-4eed-40c6-ab36-78bc62005773" providerId="ADAL" clId="{E56EB9E9-1E01-4995-937D-98B474E60653}" dt="2025-06-10T09:49:57.325" v="1147" actId="164"/>
          <ac:spMkLst>
            <pc:docMk/>
            <pc:sldMk cId="1180124282" sldId="1409"/>
            <ac:spMk id="30" creationId="{6B53DF67-6D95-C1CA-7912-2D647BC02437}"/>
          </ac:spMkLst>
        </pc:spChg>
        <pc:spChg chg="mod">
          <ac:chgData name="Krishna  Patel" userId="ed2200d0-4eed-40c6-ab36-78bc62005773" providerId="ADAL" clId="{E56EB9E9-1E01-4995-937D-98B474E60653}" dt="2025-06-10T09:49:53.903" v="1146" actId="164"/>
          <ac:spMkLst>
            <pc:docMk/>
            <pc:sldMk cId="1180124282" sldId="1409"/>
            <ac:spMk id="32" creationId="{C1A7304E-8A3E-4873-FBC2-8552F6412410}"/>
          </ac:spMkLst>
        </pc:spChg>
        <pc:spChg chg="mod">
          <ac:chgData name="Krishna  Patel" userId="ed2200d0-4eed-40c6-ab36-78bc62005773" providerId="ADAL" clId="{E56EB9E9-1E01-4995-937D-98B474E60653}" dt="2025-06-10T09:49:53.903" v="1146" actId="164"/>
          <ac:spMkLst>
            <pc:docMk/>
            <pc:sldMk cId="1180124282" sldId="1409"/>
            <ac:spMk id="33" creationId="{549ADA73-FC23-6D3A-67D0-A0066DE9A5FF}"/>
          </ac:spMkLst>
        </pc:spChg>
        <pc:spChg chg="mod">
          <ac:chgData name="Krishna  Patel" userId="ed2200d0-4eed-40c6-ab36-78bc62005773" providerId="ADAL" clId="{E56EB9E9-1E01-4995-937D-98B474E60653}" dt="2025-06-10T09:49:50.414" v="1145" actId="164"/>
          <ac:spMkLst>
            <pc:docMk/>
            <pc:sldMk cId="1180124282" sldId="1409"/>
            <ac:spMk id="35" creationId="{837655AB-43A6-89F4-3D3A-4A4FCA34D195}"/>
          </ac:spMkLst>
        </pc:spChg>
        <pc:spChg chg="mod">
          <ac:chgData name="Krishna  Patel" userId="ed2200d0-4eed-40c6-ab36-78bc62005773" providerId="ADAL" clId="{E56EB9E9-1E01-4995-937D-98B474E60653}" dt="2025-06-10T09:49:50.414" v="1145" actId="164"/>
          <ac:spMkLst>
            <pc:docMk/>
            <pc:sldMk cId="1180124282" sldId="1409"/>
            <ac:spMk id="43" creationId="{0B369ED7-3CBD-F044-4584-8A0178231C17}"/>
          </ac:spMkLst>
        </pc:spChg>
        <pc:spChg chg="mod">
          <ac:chgData name="Krishna  Patel" userId="ed2200d0-4eed-40c6-ab36-78bc62005773" providerId="ADAL" clId="{E56EB9E9-1E01-4995-937D-98B474E60653}" dt="2025-06-10T09:49:45.251" v="1144" actId="164"/>
          <ac:spMkLst>
            <pc:docMk/>
            <pc:sldMk cId="1180124282" sldId="1409"/>
            <ac:spMk id="45" creationId="{FE2512F8-A0D9-CE53-9E15-959FBA509D5D}"/>
          </ac:spMkLst>
        </pc:spChg>
        <pc:spChg chg="mod">
          <ac:chgData name="Krishna  Patel" userId="ed2200d0-4eed-40c6-ab36-78bc62005773" providerId="ADAL" clId="{E56EB9E9-1E01-4995-937D-98B474E60653}" dt="2025-06-10T09:49:45.251" v="1144" actId="164"/>
          <ac:spMkLst>
            <pc:docMk/>
            <pc:sldMk cId="1180124282" sldId="1409"/>
            <ac:spMk id="46" creationId="{FD5C4951-B050-4270-8214-A6BBF2C65BBB}"/>
          </ac:spMkLst>
        </pc:spChg>
        <pc:spChg chg="mod">
          <ac:chgData name="Krishna  Patel" userId="ed2200d0-4eed-40c6-ab36-78bc62005773" providerId="ADAL" clId="{E56EB9E9-1E01-4995-937D-98B474E60653}" dt="2025-06-10T09:49:36.605" v="1142" actId="164"/>
          <ac:spMkLst>
            <pc:docMk/>
            <pc:sldMk cId="1180124282" sldId="1409"/>
            <ac:spMk id="49" creationId="{EAE513EF-D7F8-36BA-6925-AA550BF971CE}"/>
          </ac:spMkLst>
        </pc:spChg>
      </pc:sldChg>
      <pc:sldChg chg="modSp mod">
        <pc:chgData name="Krishna  Patel" userId="ed2200d0-4eed-40c6-ab36-78bc62005773" providerId="ADAL" clId="{E56EB9E9-1E01-4995-937D-98B474E60653}" dt="2025-06-10T09:51:04.049" v="1164" actId="14100"/>
        <pc:sldMkLst>
          <pc:docMk/>
          <pc:sldMk cId="490945690" sldId="1410"/>
        </pc:sldMkLst>
        <pc:spChg chg="mod">
          <ac:chgData name="Krishna  Patel" userId="ed2200d0-4eed-40c6-ab36-78bc62005773" providerId="ADAL" clId="{E56EB9E9-1E01-4995-937D-98B474E60653}" dt="2025-06-10T09:50:48.232" v="1161" actId="1035"/>
          <ac:spMkLst>
            <pc:docMk/>
            <pc:sldMk cId="490945690" sldId="1410"/>
            <ac:spMk id="3" creationId="{EA42EEBA-9E0C-5226-7CDA-3C6F6F182097}"/>
          </ac:spMkLst>
        </pc:spChg>
        <pc:spChg chg="mod">
          <ac:chgData name="Krishna  Patel" userId="ed2200d0-4eed-40c6-ab36-78bc62005773" providerId="ADAL" clId="{E56EB9E9-1E01-4995-937D-98B474E60653}" dt="2025-06-10T09:50:56.388" v="1163" actId="255"/>
          <ac:spMkLst>
            <pc:docMk/>
            <pc:sldMk cId="490945690" sldId="1410"/>
            <ac:spMk id="9" creationId="{E1F3D18A-F015-FB0F-C7E5-6410C354582B}"/>
          </ac:spMkLst>
        </pc:spChg>
        <pc:spChg chg="mod">
          <ac:chgData name="Krishna  Patel" userId="ed2200d0-4eed-40c6-ab36-78bc62005773" providerId="ADAL" clId="{E56EB9E9-1E01-4995-937D-98B474E60653}" dt="2025-06-10T09:50:56.388" v="1163" actId="255"/>
          <ac:spMkLst>
            <pc:docMk/>
            <pc:sldMk cId="490945690" sldId="1410"/>
            <ac:spMk id="14" creationId="{17F0C8A7-8413-8480-D9BB-5F2E2032FD2E}"/>
          </ac:spMkLst>
        </pc:spChg>
        <pc:spChg chg="mod">
          <ac:chgData name="Krishna  Patel" userId="ed2200d0-4eed-40c6-ab36-78bc62005773" providerId="ADAL" clId="{E56EB9E9-1E01-4995-937D-98B474E60653}" dt="2025-06-10T09:50:56.388" v="1163" actId="255"/>
          <ac:spMkLst>
            <pc:docMk/>
            <pc:sldMk cId="490945690" sldId="1410"/>
            <ac:spMk id="15" creationId="{DFD2DB24-1F25-E4A3-BD32-C49211349DD7}"/>
          </ac:spMkLst>
        </pc:spChg>
        <pc:spChg chg="mod">
          <ac:chgData name="Krishna  Patel" userId="ed2200d0-4eed-40c6-ab36-78bc62005773" providerId="ADAL" clId="{E56EB9E9-1E01-4995-937D-98B474E60653}" dt="2025-06-10T09:50:56.388" v="1163" actId="255"/>
          <ac:spMkLst>
            <pc:docMk/>
            <pc:sldMk cId="490945690" sldId="1410"/>
            <ac:spMk id="17" creationId="{D0E6DF6E-6E5C-66A3-9E89-F0D828BB9FAE}"/>
          </ac:spMkLst>
        </pc:spChg>
        <pc:spChg chg="mod">
          <ac:chgData name="Krishna  Patel" userId="ed2200d0-4eed-40c6-ab36-78bc62005773" providerId="ADAL" clId="{E56EB9E9-1E01-4995-937D-98B474E60653}" dt="2025-06-10T09:50:56.388" v="1163" actId="255"/>
          <ac:spMkLst>
            <pc:docMk/>
            <pc:sldMk cId="490945690" sldId="1410"/>
            <ac:spMk id="19" creationId="{A550DBCD-1C3A-B3ED-9939-04428098ADA7}"/>
          </ac:spMkLst>
        </pc:spChg>
        <pc:spChg chg="mod">
          <ac:chgData name="Krishna  Patel" userId="ed2200d0-4eed-40c6-ab36-78bc62005773" providerId="ADAL" clId="{E56EB9E9-1E01-4995-937D-98B474E60653}" dt="2025-06-10T09:50:56.388" v="1163" actId="255"/>
          <ac:spMkLst>
            <pc:docMk/>
            <pc:sldMk cId="490945690" sldId="1410"/>
            <ac:spMk id="23" creationId="{59170DBC-7956-8B32-32D8-6743EB5EE040}"/>
          </ac:spMkLst>
        </pc:spChg>
        <pc:spChg chg="mod">
          <ac:chgData name="Krishna  Patel" userId="ed2200d0-4eed-40c6-ab36-78bc62005773" providerId="ADAL" clId="{E56EB9E9-1E01-4995-937D-98B474E60653}" dt="2025-06-10T09:50:56.388" v="1163" actId="255"/>
          <ac:spMkLst>
            <pc:docMk/>
            <pc:sldMk cId="490945690" sldId="1410"/>
            <ac:spMk id="37" creationId="{3171272F-2281-BDE4-68AB-DD477A38DD2D}"/>
          </ac:spMkLst>
        </pc:spChg>
        <pc:spChg chg="mod">
          <ac:chgData name="Krishna  Patel" userId="ed2200d0-4eed-40c6-ab36-78bc62005773" providerId="ADAL" clId="{E56EB9E9-1E01-4995-937D-98B474E60653}" dt="2025-06-10T09:50:56.388" v="1163" actId="255"/>
          <ac:spMkLst>
            <pc:docMk/>
            <pc:sldMk cId="490945690" sldId="1410"/>
            <ac:spMk id="39" creationId="{F227B898-8E2C-E675-4175-38EB7076BC9F}"/>
          </ac:spMkLst>
        </pc:spChg>
        <pc:spChg chg="mod">
          <ac:chgData name="Krishna  Patel" userId="ed2200d0-4eed-40c6-ab36-78bc62005773" providerId="ADAL" clId="{E56EB9E9-1E01-4995-937D-98B474E60653}" dt="2025-06-10T09:50:56.388" v="1163" actId="255"/>
          <ac:spMkLst>
            <pc:docMk/>
            <pc:sldMk cId="490945690" sldId="1410"/>
            <ac:spMk id="41" creationId="{5B48D91E-8C47-1F85-AD9C-ECD38544C50C}"/>
          </ac:spMkLst>
        </pc:spChg>
        <pc:spChg chg="mod">
          <ac:chgData name="Krishna  Patel" userId="ed2200d0-4eed-40c6-ab36-78bc62005773" providerId="ADAL" clId="{E56EB9E9-1E01-4995-937D-98B474E60653}" dt="2025-06-10T09:50:56.388" v="1163" actId="255"/>
          <ac:spMkLst>
            <pc:docMk/>
            <pc:sldMk cId="490945690" sldId="1410"/>
            <ac:spMk id="58" creationId="{45EAEBA9-DFFE-AA91-8E83-B840B93D6DD2}"/>
          </ac:spMkLst>
        </pc:spChg>
        <pc:spChg chg="mod">
          <ac:chgData name="Krishna  Patel" userId="ed2200d0-4eed-40c6-ab36-78bc62005773" providerId="ADAL" clId="{E56EB9E9-1E01-4995-937D-98B474E60653}" dt="2025-06-10T09:50:44.003" v="1157" actId="403"/>
          <ac:spMkLst>
            <pc:docMk/>
            <pc:sldMk cId="490945690" sldId="1410"/>
            <ac:spMk id="59" creationId="{F28F7D08-3487-4306-2E4A-9C2BB7337532}"/>
          </ac:spMkLst>
        </pc:spChg>
      </pc:sldChg>
      <pc:sldChg chg="modSp mod">
        <pc:chgData name="Krishna  Patel" userId="ed2200d0-4eed-40c6-ab36-78bc62005773" providerId="ADAL" clId="{E56EB9E9-1E01-4995-937D-98B474E60653}" dt="2025-06-10T09:51:29.982" v="1172" actId="1036"/>
        <pc:sldMkLst>
          <pc:docMk/>
          <pc:sldMk cId="2193362245" sldId="1416"/>
        </pc:sldMkLst>
        <pc:spChg chg="mod">
          <ac:chgData name="Krishna  Patel" userId="ed2200d0-4eed-40c6-ab36-78bc62005773" providerId="ADAL" clId="{E56EB9E9-1E01-4995-937D-98B474E60653}" dt="2025-06-10T09:51:29.982" v="1172" actId="1036"/>
          <ac:spMkLst>
            <pc:docMk/>
            <pc:sldMk cId="2193362245" sldId="1416"/>
            <ac:spMk id="3" creationId="{CCEBAD04-D06F-B711-F177-EBA083953F7B}"/>
          </ac:spMkLst>
        </pc:spChg>
        <pc:spChg chg="mod">
          <ac:chgData name="Krishna  Patel" userId="ed2200d0-4eed-40c6-ab36-78bc62005773" providerId="ADAL" clId="{E56EB9E9-1E01-4995-937D-98B474E60653}" dt="2025-06-10T09:51:29.982" v="1172" actId="1036"/>
          <ac:spMkLst>
            <pc:docMk/>
            <pc:sldMk cId="2193362245" sldId="1416"/>
            <ac:spMk id="4" creationId="{591F94A8-B937-FBD7-BF02-E751971A67D7}"/>
          </ac:spMkLst>
        </pc:spChg>
      </pc:sldChg>
      <pc:sldChg chg="modSp mod">
        <pc:chgData name="Krishna  Patel" userId="ed2200d0-4eed-40c6-ab36-78bc62005773" providerId="ADAL" clId="{E56EB9E9-1E01-4995-937D-98B474E60653}" dt="2025-06-10T09:53:05.721" v="1252" actId="403"/>
        <pc:sldMkLst>
          <pc:docMk/>
          <pc:sldMk cId="699312704" sldId="1419"/>
        </pc:sldMkLst>
        <pc:spChg chg="mod">
          <ac:chgData name="Krishna  Patel" userId="ed2200d0-4eed-40c6-ab36-78bc62005773" providerId="ADAL" clId="{E56EB9E9-1E01-4995-937D-98B474E60653}" dt="2025-06-10T09:53:05.721" v="1252" actId="403"/>
          <ac:spMkLst>
            <pc:docMk/>
            <pc:sldMk cId="699312704" sldId="1419"/>
            <ac:spMk id="18" creationId="{FF493BFE-0287-4EB0-D7C0-C6360C468CD8}"/>
          </ac:spMkLst>
        </pc:spChg>
        <pc:spChg chg="mod">
          <ac:chgData name="Krishna  Patel" userId="ed2200d0-4eed-40c6-ab36-78bc62005773" providerId="ADAL" clId="{E56EB9E9-1E01-4995-937D-98B474E60653}" dt="2025-06-10T09:51:54.917" v="1178" actId="255"/>
          <ac:spMkLst>
            <pc:docMk/>
            <pc:sldMk cId="699312704" sldId="1419"/>
            <ac:spMk id="20" creationId="{0671DA0E-EA68-2063-2269-424204CC9471}"/>
          </ac:spMkLst>
        </pc:spChg>
        <pc:spChg chg="mod">
          <ac:chgData name="Krishna  Patel" userId="ed2200d0-4eed-40c6-ab36-78bc62005773" providerId="ADAL" clId="{E56EB9E9-1E01-4995-937D-98B474E60653}" dt="2025-06-10T09:51:54.917" v="1178" actId="255"/>
          <ac:spMkLst>
            <pc:docMk/>
            <pc:sldMk cId="699312704" sldId="1419"/>
            <ac:spMk id="22" creationId="{3199507C-3309-7E4D-33AF-9A9B8A99925C}"/>
          </ac:spMkLst>
        </pc:spChg>
        <pc:spChg chg="mod">
          <ac:chgData name="Krishna  Patel" userId="ed2200d0-4eed-40c6-ab36-78bc62005773" providerId="ADAL" clId="{E56EB9E9-1E01-4995-937D-98B474E60653}" dt="2025-06-10T09:51:54.917" v="1178" actId="255"/>
          <ac:spMkLst>
            <pc:docMk/>
            <pc:sldMk cId="699312704" sldId="1419"/>
            <ac:spMk id="24" creationId="{761E66B5-6228-38B5-51B7-9D2EEE343E82}"/>
          </ac:spMkLst>
        </pc:spChg>
        <pc:spChg chg="mod">
          <ac:chgData name="Krishna  Patel" userId="ed2200d0-4eed-40c6-ab36-78bc62005773" providerId="ADAL" clId="{E56EB9E9-1E01-4995-937D-98B474E60653}" dt="2025-06-10T09:52:01.418" v="1184" actId="1038"/>
          <ac:spMkLst>
            <pc:docMk/>
            <pc:sldMk cId="699312704" sldId="1419"/>
            <ac:spMk id="25" creationId="{7F1530B5-E76E-CBA8-BE69-A97ECD21C5CC}"/>
          </ac:spMkLst>
        </pc:spChg>
        <pc:spChg chg="mod">
          <ac:chgData name="Krishna  Patel" userId="ed2200d0-4eed-40c6-ab36-78bc62005773" providerId="ADAL" clId="{E56EB9E9-1E01-4995-937D-98B474E60653}" dt="2025-06-10T09:52:06.565" v="1187" actId="1036"/>
          <ac:spMkLst>
            <pc:docMk/>
            <pc:sldMk cId="699312704" sldId="1419"/>
            <ac:spMk id="28" creationId="{73748634-7603-C2ED-661A-0CF4B16B95A0}"/>
          </ac:spMkLst>
        </pc:spChg>
        <pc:spChg chg="mod">
          <ac:chgData name="Krishna  Patel" userId="ed2200d0-4eed-40c6-ab36-78bc62005773" providerId="ADAL" clId="{E56EB9E9-1E01-4995-937D-98B474E60653}" dt="2025-06-10T09:52:10.315" v="1195" actId="1036"/>
          <ac:spMkLst>
            <pc:docMk/>
            <pc:sldMk cId="699312704" sldId="1419"/>
            <ac:spMk id="30" creationId="{3955BFC5-61FE-3F8B-D08C-D7598046E9D4}"/>
          </ac:spMkLst>
        </pc:spChg>
        <pc:spChg chg="mod">
          <ac:chgData name="Krishna  Patel" userId="ed2200d0-4eed-40c6-ab36-78bc62005773" providerId="ADAL" clId="{E56EB9E9-1E01-4995-937D-98B474E60653}" dt="2025-06-10T09:52:15.713" v="1198" actId="1036"/>
          <ac:spMkLst>
            <pc:docMk/>
            <pc:sldMk cId="699312704" sldId="1419"/>
            <ac:spMk id="31" creationId="{9834B998-1C2A-3E9D-D8D6-D2D25ECFA010}"/>
          </ac:spMkLst>
        </pc:spChg>
        <pc:spChg chg="mod">
          <ac:chgData name="Krishna  Patel" userId="ed2200d0-4eed-40c6-ab36-78bc62005773" providerId="ADAL" clId="{E56EB9E9-1E01-4995-937D-98B474E60653}" dt="2025-06-10T09:52:50.246" v="1251" actId="14100"/>
          <ac:spMkLst>
            <pc:docMk/>
            <pc:sldMk cId="699312704" sldId="1419"/>
            <ac:spMk id="35" creationId="{6C3363A7-52E4-59A7-1424-9F6A9F3F5EC7}"/>
          </ac:spMkLst>
        </pc:spChg>
        <pc:spChg chg="mod">
          <ac:chgData name="Krishna  Patel" userId="ed2200d0-4eed-40c6-ab36-78bc62005773" providerId="ADAL" clId="{E56EB9E9-1E01-4995-937D-98B474E60653}" dt="2025-06-10T09:52:44.583" v="1248" actId="14100"/>
          <ac:spMkLst>
            <pc:docMk/>
            <pc:sldMk cId="699312704" sldId="1419"/>
            <ac:spMk id="38" creationId="{7C8C506B-5F89-D8EB-B970-047DB8E128BF}"/>
          </ac:spMkLst>
        </pc:spChg>
        <pc:spChg chg="mod">
          <ac:chgData name="Krishna  Patel" userId="ed2200d0-4eed-40c6-ab36-78bc62005773" providerId="ADAL" clId="{E56EB9E9-1E01-4995-937D-98B474E60653}" dt="2025-06-10T09:51:54.917" v="1178" actId="255"/>
          <ac:spMkLst>
            <pc:docMk/>
            <pc:sldMk cId="699312704" sldId="1419"/>
            <ac:spMk id="40" creationId="{5584C7C2-B0D1-CD9C-6FC5-625097845EF5}"/>
          </ac:spMkLst>
        </pc:spChg>
        <pc:spChg chg="mod">
          <ac:chgData name="Krishna  Patel" userId="ed2200d0-4eed-40c6-ab36-78bc62005773" providerId="ADAL" clId="{E56EB9E9-1E01-4995-937D-98B474E60653}" dt="2025-06-10T09:52:21.556" v="1206" actId="1036"/>
          <ac:spMkLst>
            <pc:docMk/>
            <pc:sldMk cId="699312704" sldId="1419"/>
            <ac:spMk id="41" creationId="{7D6FADE2-ACE9-7C2A-D581-7BE843F17060}"/>
          </ac:spMkLst>
        </pc:spChg>
        <pc:spChg chg="mod">
          <ac:chgData name="Krishna  Patel" userId="ed2200d0-4eed-40c6-ab36-78bc62005773" providerId="ADAL" clId="{E56EB9E9-1E01-4995-937D-98B474E60653}" dt="2025-06-10T09:52:25.565" v="1212" actId="1036"/>
          <ac:spMkLst>
            <pc:docMk/>
            <pc:sldMk cId="699312704" sldId="1419"/>
            <ac:spMk id="43" creationId="{CD5C2435-53B9-90DC-9B3F-75C543B40FFD}"/>
          </ac:spMkLst>
        </pc:spChg>
        <pc:spChg chg="mod">
          <ac:chgData name="Krishna  Patel" userId="ed2200d0-4eed-40c6-ab36-78bc62005773" providerId="ADAL" clId="{E56EB9E9-1E01-4995-937D-98B474E60653}" dt="2025-06-10T09:52:28.527" v="1218" actId="1036"/>
          <ac:spMkLst>
            <pc:docMk/>
            <pc:sldMk cId="699312704" sldId="1419"/>
            <ac:spMk id="44" creationId="{5764C99F-7221-9BE7-91BA-C4CA74AC4B40}"/>
          </ac:spMkLst>
        </pc:spChg>
        <pc:spChg chg="mod">
          <ac:chgData name="Krishna  Patel" userId="ed2200d0-4eed-40c6-ab36-78bc62005773" providerId="ADAL" clId="{E56EB9E9-1E01-4995-937D-98B474E60653}" dt="2025-06-10T09:52:38.803" v="1240" actId="1036"/>
          <ac:spMkLst>
            <pc:docMk/>
            <pc:sldMk cId="699312704" sldId="1419"/>
            <ac:spMk id="46" creationId="{AFA36709-E750-3817-2927-E3E3EA11512F}"/>
          </ac:spMkLst>
        </pc:spChg>
        <pc:spChg chg="mod">
          <ac:chgData name="Krishna  Patel" userId="ed2200d0-4eed-40c6-ab36-78bc62005773" providerId="ADAL" clId="{E56EB9E9-1E01-4995-937D-98B474E60653}" dt="2025-06-10T09:52:46.377" v="1250" actId="1036"/>
          <ac:spMkLst>
            <pc:docMk/>
            <pc:sldMk cId="699312704" sldId="1419"/>
            <ac:spMk id="48" creationId="{555AD49C-C045-DE76-4DC8-04285394D654}"/>
          </ac:spMkLst>
        </pc:spChg>
      </pc:sldChg>
      <pc:sldChg chg="modSp mod">
        <pc:chgData name="Krishna  Patel" userId="ed2200d0-4eed-40c6-ab36-78bc62005773" providerId="ADAL" clId="{E56EB9E9-1E01-4995-937D-98B474E60653}" dt="2025-06-10T09:55:33.159" v="1375" actId="1076"/>
        <pc:sldMkLst>
          <pc:docMk/>
          <pc:sldMk cId="2534325615" sldId="1420"/>
        </pc:sldMkLst>
      </pc:sldChg>
      <pc:sldChg chg="modSp mod">
        <pc:chgData name="Krishna  Patel" userId="ed2200d0-4eed-40c6-ab36-78bc62005773" providerId="ADAL" clId="{E56EB9E9-1E01-4995-937D-98B474E60653}" dt="2025-06-10T09:56:01.678" v="1392" actId="1036"/>
        <pc:sldMkLst>
          <pc:docMk/>
          <pc:sldMk cId="401956825" sldId="1422"/>
        </pc:sldMkLst>
        <pc:spChg chg="mod">
          <ac:chgData name="Krishna  Patel" userId="ed2200d0-4eed-40c6-ab36-78bc62005773" providerId="ADAL" clId="{E56EB9E9-1E01-4995-937D-98B474E60653}" dt="2025-06-10T09:55:50.560" v="1381" actId="1036"/>
          <ac:spMkLst>
            <pc:docMk/>
            <pc:sldMk cId="401956825" sldId="1422"/>
            <ac:spMk id="21" creationId="{1B013C59-A7D7-0F2B-2D49-119F5A2068B0}"/>
          </ac:spMkLst>
        </pc:spChg>
        <pc:spChg chg="mod">
          <ac:chgData name="Krishna  Patel" userId="ed2200d0-4eed-40c6-ab36-78bc62005773" providerId="ADAL" clId="{E56EB9E9-1E01-4995-937D-98B474E60653}" dt="2025-06-10T09:55:43.882" v="1376" actId="255"/>
          <ac:spMkLst>
            <pc:docMk/>
            <pc:sldMk cId="401956825" sldId="1422"/>
            <ac:spMk id="24" creationId="{C473EEE4-19B6-15CB-07B9-D8E8F46E6472}"/>
          </ac:spMkLst>
        </pc:spChg>
        <pc:spChg chg="mod">
          <ac:chgData name="Krishna  Patel" userId="ed2200d0-4eed-40c6-ab36-78bc62005773" providerId="ADAL" clId="{E56EB9E9-1E01-4995-937D-98B474E60653}" dt="2025-06-10T09:55:49.443" v="1380" actId="1036"/>
          <ac:spMkLst>
            <pc:docMk/>
            <pc:sldMk cId="401956825" sldId="1422"/>
            <ac:spMk id="25" creationId="{83B851D6-8ADD-2E3A-F97F-AF9E0A3DBABB}"/>
          </ac:spMkLst>
        </pc:spChg>
        <pc:spChg chg="mod">
          <ac:chgData name="Krishna  Patel" userId="ed2200d0-4eed-40c6-ab36-78bc62005773" providerId="ADAL" clId="{E56EB9E9-1E01-4995-937D-98B474E60653}" dt="2025-06-10T09:55:43.882" v="1376" actId="255"/>
          <ac:spMkLst>
            <pc:docMk/>
            <pc:sldMk cId="401956825" sldId="1422"/>
            <ac:spMk id="28" creationId="{81A010FF-92F2-242C-F7F1-12B1D9A6663E}"/>
          </ac:spMkLst>
        </pc:spChg>
        <pc:spChg chg="mod">
          <ac:chgData name="Krishna  Patel" userId="ed2200d0-4eed-40c6-ab36-78bc62005773" providerId="ADAL" clId="{E56EB9E9-1E01-4995-937D-98B474E60653}" dt="2025-06-10T09:55:43.882" v="1376" actId="255"/>
          <ac:spMkLst>
            <pc:docMk/>
            <pc:sldMk cId="401956825" sldId="1422"/>
            <ac:spMk id="30" creationId="{57F9B51B-F346-6A2E-0657-5EF16F9F2C63}"/>
          </ac:spMkLst>
        </pc:spChg>
        <pc:spChg chg="mod">
          <ac:chgData name="Krishna  Patel" userId="ed2200d0-4eed-40c6-ab36-78bc62005773" providerId="ADAL" clId="{E56EB9E9-1E01-4995-937D-98B474E60653}" dt="2025-06-10T09:55:58.774" v="1386" actId="1036"/>
          <ac:spMkLst>
            <pc:docMk/>
            <pc:sldMk cId="401956825" sldId="1422"/>
            <ac:spMk id="31" creationId="{B32A9AAA-83A9-ABEA-4919-058893407629}"/>
          </ac:spMkLst>
        </pc:spChg>
        <pc:spChg chg="mod">
          <ac:chgData name="Krishna  Patel" userId="ed2200d0-4eed-40c6-ab36-78bc62005773" providerId="ADAL" clId="{E56EB9E9-1E01-4995-937D-98B474E60653}" dt="2025-06-10T09:55:43.882" v="1376" actId="255"/>
          <ac:spMkLst>
            <pc:docMk/>
            <pc:sldMk cId="401956825" sldId="1422"/>
            <ac:spMk id="36" creationId="{1EFB7A63-24CF-7418-5160-532B6824B942}"/>
          </ac:spMkLst>
        </pc:spChg>
        <pc:spChg chg="mod">
          <ac:chgData name="Krishna  Patel" userId="ed2200d0-4eed-40c6-ab36-78bc62005773" providerId="ADAL" clId="{E56EB9E9-1E01-4995-937D-98B474E60653}" dt="2025-06-10T09:55:57.337" v="1384" actId="1036"/>
          <ac:spMkLst>
            <pc:docMk/>
            <pc:sldMk cId="401956825" sldId="1422"/>
            <ac:spMk id="37" creationId="{8320E62B-1E64-1F5B-7761-3FFF528F76B6}"/>
          </ac:spMkLst>
        </pc:spChg>
        <pc:spChg chg="mod">
          <ac:chgData name="Krishna  Patel" userId="ed2200d0-4eed-40c6-ab36-78bc62005773" providerId="ADAL" clId="{E56EB9E9-1E01-4995-937D-98B474E60653}" dt="2025-06-10T09:56:01.678" v="1392" actId="1036"/>
          <ac:spMkLst>
            <pc:docMk/>
            <pc:sldMk cId="401956825" sldId="1422"/>
            <ac:spMk id="40" creationId="{69FE80FE-F210-017C-0CFF-8E4FA5250951}"/>
          </ac:spMkLst>
        </pc:spChg>
      </pc:sldChg>
      <pc:sldChg chg="modSp mod">
        <pc:chgData name="Krishna  Patel" userId="ed2200d0-4eed-40c6-ab36-78bc62005773" providerId="ADAL" clId="{E56EB9E9-1E01-4995-937D-98B474E60653}" dt="2025-06-10T09:57:12.511" v="1486" actId="1036"/>
        <pc:sldMkLst>
          <pc:docMk/>
          <pc:sldMk cId="421499063" sldId="1423"/>
        </pc:sldMkLst>
      </pc:sldChg>
      <pc:sldChg chg="modSp mod">
        <pc:chgData name="Krishna  Patel" userId="ed2200d0-4eed-40c6-ab36-78bc62005773" providerId="ADAL" clId="{E56EB9E9-1E01-4995-937D-98B474E60653}" dt="2025-06-10T10:10:50.154" v="2030" actId="1035"/>
        <pc:sldMkLst>
          <pc:docMk/>
          <pc:sldMk cId="149391360" sldId="1425"/>
        </pc:sldMkLst>
      </pc:sldChg>
      <pc:sldChg chg="modSp mod">
        <pc:chgData name="Krishna  Patel" userId="ed2200d0-4eed-40c6-ab36-78bc62005773" providerId="ADAL" clId="{E56EB9E9-1E01-4995-937D-98B474E60653}" dt="2025-06-10T10:00:20.095" v="1574" actId="14100"/>
        <pc:sldMkLst>
          <pc:docMk/>
          <pc:sldMk cId="2230945605" sldId="1427"/>
        </pc:sldMkLst>
      </pc:sldChg>
      <pc:sldChg chg="modSp mod">
        <pc:chgData name="Krishna  Patel" userId="ed2200d0-4eed-40c6-ab36-78bc62005773" providerId="ADAL" clId="{E56EB9E9-1E01-4995-937D-98B474E60653}" dt="2025-06-10T09:59:40.838" v="1555" actId="14100"/>
        <pc:sldMkLst>
          <pc:docMk/>
          <pc:sldMk cId="1185609157" sldId="1428"/>
        </pc:sldMkLst>
      </pc:sldChg>
      <pc:sldChg chg="modSp mod">
        <pc:chgData name="Krishna  Patel" userId="ed2200d0-4eed-40c6-ab36-78bc62005773" providerId="ADAL" clId="{E56EB9E9-1E01-4995-937D-98B474E60653}" dt="2025-06-10T10:01:35.126" v="1664" actId="1076"/>
        <pc:sldMkLst>
          <pc:docMk/>
          <pc:sldMk cId="295625867" sldId="1429"/>
        </pc:sldMkLst>
      </pc:sldChg>
      <pc:sldChg chg="modSp mod">
        <pc:chgData name="Krishna  Patel" userId="ed2200d0-4eed-40c6-ab36-78bc62005773" providerId="ADAL" clId="{E56EB9E9-1E01-4995-937D-98B474E60653}" dt="2025-06-10T10:03:42.629" v="1746" actId="1036"/>
        <pc:sldMkLst>
          <pc:docMk/>
          <pc:sldMk cId="296054934" sldId="1431"/>
        </pc:sldMkLst>
      </pc:sldChg>
      <pc:sldChg chg="modSp mod">
        <pc:chgData name="Krishna  Patel" userId="ed2200d0-4eed-40c6-ab36-78bc62005773" providerId="ADAL" clId="{E56EB9E9-1E01-4995-937D-98B474E60653}" dt="2025-06-10T10:05:57.911" v="1862" actId="14100"/>
        <pc:sldMkLst>
          <pc:docMk/>
          <pc:sldMk cId="1115682485" sldId="1432"/>
        </pc:sldMkLst>
      </pc:sldChg>
      <pc:sldChg chg="modSp mod">
        <pc:chgData name="Krishna  Patel" userId="ed2200d0-4eed-40c6-ab36-78bc62005773" providerId="ADAL" clId="{E56EB9E9-1E01-4995-937D-98B474E60653}" dt="2025-06-10T10:06:31.003" v="1884" actId="1036"/>
        <pc:sldMkLst>
          <pc:docMk/>
          <pc:sldMk cId="1521786324" sldId="1434"/>
        </pc:sldMkLst>
      </pc:sldChg>
      <pc:sldChg chg="modSp mod">
        <pc:chgData name="Krishna  Patel" userId="ed2200d0-4eed-40c6-ab36-78bc62005773" providerId="ADAL" clId="{E56EB9E9-1E01-4995-937D-98B474E60653}" dt="2025-06-10T10:09:16.551" v="2010" actId="14100"/>
        <pc:sldMkLst>
          <pc:docMk/>
          <pc:sldMk cId="702474907" sldId="1435"/>
        </pc:sldMkLst>
      </pc:sldChg>
      <pc:sldChg chg="modSp mod">
        <pc:chgData name="Krishna  Patel" userId="ed2200d0-4eed-40c6-ab36-78bc62005773" providerId="ADAL" clId="{E56EB9E9-1E01-4995-937D-98B474E60653}" dt="2025-06-10T10:09:30.009" v="2015" actId="1036"/>
        <pc:sldMkLst>
          <pc:docMk/>
          <pc:sldMk cId="150165841" sldId="1438"/>
        </pc:sldMkLst>
      </pc:sldChg>
      <pc:sldChg chg="modSp mod">
        <pc:chgData name="Krishna  Patel" userId="ed2200d0-4eed-40c6-ab36-78bc62005773" providerId="ADAL" clId="{E56EB9E9-1E01-4995-937D-98B474E60653}" dt="2025-06-10T10:09:39.818" v="2018" actId="1035"/>
        <pc:sldMkLst>
          <pc:docMk/>
          <pc:sldMk cId="2013412701" sldId="1439"/>
        </pc:sldMkLst>
      </pc:sldChg>
      <pc:sldChg chg="modSp mod">
        <pc:chgData name="Krishna  Patel" userId="ed2200d0-4eed-40c6-ab36-78bc62005773" providerId="ADAL" clId="{E56EB9E9-1E01-4995-937D-98B474E60653}" dt="2025-06-10T10:16:27.878" v="2126" actId="14100"/>
        <pc:sldMkLst>
          <pc:docMk/>
          <pc:sldMk cId="616849497" sldId="1449"/>
        </pc:sldMkLst>
      </pc:sldChg>
      <pc:sldChg chg="modSp mod">
        <pc:chgData name="Krishna  Patel" userId="ed2200d0-4eed-40c6-ab36-78bc62005773" providerId="ADAL" clId="{E56EB9E9-1E01-4995-937D-98B474E60653}" dt="2025-06-10T07:23:59.942" v="21" actId="1036"/>
        <pc:sldMkLst>
          <pc:docMk/>
          <pc:sldMk cId="866224783" sldId="1457"/>
        </pc:sldMkLst>
        <pc:spChg chg="mod">
          <ac:chgData name="Krishna  Patel" userId="ed2200d0-4eed-40c6-ab36-78bc62005773" providerId="ADAL" clId="{E56EB9E9-1E01-4995-937D-98B474E60653}" dt="2025-06-10T07:23:29.064" v="4" actId="255"/>
          <ac:spMkLst>
            <pc:docMk/>
            <pc:sldMk cId="866224783" sldId="1457"/>
            <ac:spMk id="58" creationId="{5727D17E-75EA-8347-FFE5-DFD20EBC73F5}"/>
          </ac:spMkLst>
        </pc:spChg>
        <pc:spChg chg="mod">
          <ac:chgData name="Krishna  Patel" userId="ed2200d0-4eed-40c6-ab36-78bc62005773" providerId="ADAL" clId="{E56EB9E9-1E01-4995-937D-98B474E60653}" dt="2025-06-10T07:23:59.942" v="21" actId="1036"/>
          <ac:spMkLst>
            <pc:docMk/>
            <pc:sldMk cId="866224783" sldId="1457"/>
            <ac:spMk id="60" creationId="{341C89B8-6226-C32D-6F4B-00BB1177E604}"/>
          </ac:spMkLst>
        </pc:spChg>
        <pc:spChg chg="mod">
          <ac:chgData name="Krishna  Patel" userId="ed2200d0-4eed-40c6-ab36-78bc62005773" providerId="ADAL" clId="{E56EB9E9-1E01-4995-937D-98B474E60653}" dt="2025-06-10T07:23:59.942" v="21" actId="1036"/>
          <ac:spMkLst>
            <pc:docMk/>
            <pc:sldMk cId="866224783" sldId="1457"/>
            <ac:spMk id="61" creationId="{6F1FA80E-E6CD-EF9A-4981-635CCA9F4661}"/>
          </ac:spMkLst>
        </pc:spChg>
        <pc:spChg chg="mod">
          <ac:chgData name="Krishna  Patel" userId="ed2200d0-4eed-40c6-ab36-78bc62005773" providerId="ADAL" clId="{E56EB9E9-1E01-4995-937D-98B474E60653}" dt="2025-06-10T07:23:51.015" v="14" actId="1035"/>
          <ac:spMkLst>
            <pc:docMk/>
            <pc:sldMk cId="866224783" sldId="1457"/>
            <ac:spMk id="64" creationId="{58F40141-7742-406D-07CE-F6BEFAFD9E3D}"/>
          </ac:spMkLst>
        </pc:spChg>
        <pc:spChg chg="mod">
          <ac:chgData name="Krishna  Patel" userId="ed2200d0-4eed-40c6-ab36-78bc62005773" providerId="ADAL" clId="{E56EB9E9-1E01-4995-937D-98B474E60653}" dt="2025-06-10T07:23:43.524" v="6" actId="14100"/>
          <ac:spMkLst>
            <pc:docMk/>
            <pc:sldMk cId="866224783" sldId="1457"/>
            <ac:spMk id="67" creationId="{ED89BCAD-FB83-B62E-4E98-EDD1BDAB8DB6}"/>
          </ac:spMkLst>
        </pc:spChg>
      </pc:sldChg>
      <pc:sldChg chg="modSp mod">
        <pc:chgData name="Krishna  Patel" userId="ed2200d0-4eed-40c6-ab36-78bc62005773" providerId="ADAL" clId="{E56EB9E9-1E01-4995-937D-98B474E60653}" dt="2025-06-10T10:10:28.935" v="2020" actId="2711"/>
        <pc:sldMkLst>
          <pc:docMk/>
          <pc:sldMk cId="2922851237" sldId="1471"/>
        </pc:sldMkLst>
        <pc:spChg chg="mod">
          <ac:chgData name="Krishna  Patel" userId="ed2200d0-4eed-40c6-ab36-78bc62005773" providerId="ADAL" clId="{E56EB9E9-1E01-4995-937D-98B474E60653}" dt="2025-06-10T10:10:28.935" v="2020" actId="2711"/>
          <ac:spMkLst>
            <pc:docMk/>
            <pc:sldMk cId="2922851237" sldId="1471"/>
            <ac:spMk id="9" creationId="{77200EC5-1E4B-9E73-2997-E23777DED976}"/>
          </ac:spMkLst>
        </pc:spChg>
      </pc:sldChg>
      <pc:sldChg chg="modSp mod">
        <pc:chgData name="Krishna  Patel" userId="ed2200d0-4eed-40c6-ab36-78bc62005773" providerId="ADAL" clId="{E56EB9E9-1E01-4995-937D-98B474E60653}" dt="2025-06-10T08:50:16.889" v="48" actId="1038"/>
        <pc:sldMkLst>
          <pc:docMk/>
          <pc:sldMk cId="615437714" sldId="1475"/>
        </pc:sldMkLst>
      </pc:sldChg>
      <pc:sldChg chg="addSp delSp modSp mod">
        <pc:chgData name="Krishna  Patel" userId="ed2200d0-4eed-40c6-ab36-78bc62005773" providerId="ADAL" clId="{E56EB9E9-1E01-4995-937D-98B474E60653}" dt="2025-06-10T10:13:01.101" v="2043"/>
        <pc:sldMkLst>
          <pc:docMk/>
          <pc:sldMk cId="662215785" sldId="1477"/>
        </pc:sldMkLst>
        <pc:spChg chg="mod">
          <ac:chgData name="Krishna  Patel" userId="ed2200d0-4eed-40c6-ab36-78bc62005773" providerId="ADAL" clId="{E56EB9E9-1E01-4995-937D-98B474E60653}" dt="2025-06-10T08:48:57.016" v="39" actId="20577"/>
          <ac:spMkLst>
            <pc:docMk/>
            <pc:sldMk cId="662215785" sldId="1477"/>
            <ac:spMk id="4" creationId="{33361BCD-B96C-E39B-2F70-70F4B0A4787B}"/>
          </ac:spMkLst>
        </pc:spChg>
        <pc:spChg chg="mod">
          <ac:chgData name="Krishna  Patel" userId="ed2200d0-4eed-40c6-ab36-78bc62005773" providerId="ADAL" clId="{E56EB9E9-1E01-4995-937D-98B474E60653}" dt="2025-06-10T07:17:28.145" v="0" actId="2711"/>
          <ac:spMkLst>
            <pc:docMk/>
            <pc:sldMk cId="662215785" sldId="1477"/>
            <ac:spMk id="7" creationId="{CE2E9D52-5B18-24F5-387A-7D99D6BB1617}"/>
          </ac:spMkLst>
        </pc:spChg>
        <pc:spChg chg="mod">
          <ac:chgData name="Krishna  Patel" userId="ed2200d0-4eed-40c6-ab36-78bc62005773" providerId="ADAL" clId="{E56EB9E9-1E01-4995-937D-98B474E60653}" dt="2025-06-10T07:17:28.145" v="0" actId="2711"/>
          <ac:spMkLst>
            <pc:docMk/>
            <pc:sldMk cId="662215785" sldId="1477"/>
            <ac:spMk id="8" creationId="{0A108979-5D82-4693-FE54-65F3D9EAD2CF}"/>
          </ac:spMkLst>
        </pc:spChg>
        <pc:spChg chg="mod">
          <ac:chgData name="Krishna  Patel" userId="ed2200d0-4eed-40c6-ab36-78bc62005773" providerId="ADAL" clId="{E56EB9E9-1E01-4995-937D-98B474E60653}" dt="2025-06-10T08:49:29.745" v="42" actId="1076"/>
          <ac:spMkLst>
            <pc:docMk/>
            <pc:sldMk cId="662215785" sldId="1477"/>
            <ac:spMk id="30" creationId="{D88E4B4B-0E8C-9A73-8AFE-3C06E1E6B8F0}"/>
          </ac:spMkLst>
        </pc:spChg>
        <pc:spChg chg="mod">
          <ac:chgData name="Krishna  Patel" userId="ed2200d0-4eed-40c6-ab36-78bc62005773" providerId="ADAL" clId="{E56EB9E9-1E01-4995-937D-98B474E60653}" dt="2025-06-10T08:49:29.745" v="42" actId="1076"/>
          <ac:spMkLst>
            <pc:docMk/>
            <pc:sldMk cId="662215785" sldId="1477"/>
            <ac:spMk id="31" creationId="{3E7F52A1-B0C8-2DAF-D6A6-A1C0B7F37A61}"/>
          </ac:spMkLst>
        </pc:spChg>
        <pc:spChg chg="mod">
          <ac:chgData name="Krishna  Patel" userId="ed2200d0-4eed-40c6-ab36-78bc62005773" providerId="ADAL" clId="{E56EB9E9-1E01-4995-937D-98B474E60653}" dt="2025-06-10T08:49:36.507" v="43" actId="1076"/>
          <ac:spMkLst>
            <pc:docMk/>
            <pc:sldMk cId="662215785" sldId="1477"/>
            <ac:spMk id="32" creationId="{8F4F78E0-3350-D0D7-764C-EDE91B8EE0E9}"/>
          </ac:spMkLst>
        </pc:spChg>
        <pc:spChg chg="mod">
          <ac:chgData name="Krishna  Patel" userId="ed2200d0-4eed-40c6-ab36-78bc62005773" providerId="ADAL" clId="{E56EB9E9-1E01-4995-937D-98B474E60653}" dt="2025-06-10T08:49:29.745" v="42" actId="1076"/>
          <ac:spMkLst>
            <pc:docMk/>
            <pc:sldMk cId="662215785" sldId="1477"/>
            <ac:spMk id="34" creationId="{61A0EA8B-D98C-EBC2-61F5-45CD3B1FBF05}"/>
          </ac:spMkLst>
        </pc:spChg>
        <pc:spChg chg="mod">
          <ac:chgData name="Krishna  Patel" userId="ed2200d0-4eed-40c6-ab36-78bc62005773" providerId="ADAL" clId="{E56EB9E9-1E01-4995-937D-98B474E60653}" dt="2025-06-10T07:17:28.145" v="0" actId="2711"/>
          <ac:spMkLst>
            <pc:docMk/>
            <pc:sldMk cId="662215785" sldId="1477"/>
            <ac:spMk id="36" creationId="{CBD526EB-A826-9840-69DD-FC4357C17CD0}"/>
          </ac:spMkLst>
        </pc:spChg>
        <pc:picChg chg="add mod">
          <ac:chgData name="Krishna  Patel" userId="ed2200d0-4eed-40c6-ab36-78bc62005773" providerId="ADAL" clId="{E56EB9E9-1E01-4995-937D-98B474E60653}" dt="2025-06-10T10:13:01.101" v="2043"/>
          <ac:picMkLst>
            <pc:docMk/>
            <pc:sldMk cId="662215785" sldId="1477"/>
            <ac:picMk id="10" creationId="{3759F676-0EC2-3913-A913-A69175C1F3D3}"/>
          </ac:picMkLst>
        </pc:picChg>
      </pc:sldChg>
      <pc:sldChg chg="modSp mod">
        <pc:chgData name="Krishna  Patel" userId="ed2200d0-4eed-40c6-ab36-78bc62005773" providerId="ADAL" clId="{E56EB9E9-1E01-4995-937D-98B474E60653}" dt="2025-06-10T08:50:09.353" v="45" actId="1076"/>
        <pc:sldMkLst>
          <pc:docMk/>
          <pc:sldMk cId="3809681679" sldId="1478"/>
        </pc:sldMkLst>
        <pc:spChg chg="mod">
          <ac:chgData name="Krishna  Patel" userId="ed2200d0-4eed-40c6-ab36-78bc62005773" providerId="ADAL" clId="{E56EB9E9-1E01-4995-937D-98B474E60653}" dt="2025-06-10T07:17:54.857" v="2" actId="2711"/>
          <ac:spMkLst>
            <pc:docMk/>
            <pc:sldMk cId="3809681679" sldId="1478"/>
            <ac:spMk id="2" creationId="{09B2505C-A355-EEA4-4D92-A07EA1A1D1B7}"/>
          </ac:spMkLst>
        </pc:spChg>
        <pc:spChg chg="mod">
          <ac:chgData name="Krishna  Patel" userId="ed2200d0-4eed-40c6-ab36-78bc62005773" providerId="ADAL" clId="{E56EB9E9-1E01-4995-937D-98B474E60653}" dt="2025-06-10T08:50:09.353" v="45" actId="1076"/>
          <ac:spMkLst>
            <pc:docMk/>
            <pc:sldMk cId="3809681679" sldId="1478"/>
            <ac:spMk id="3" creationId="{6A411022-3705-3C1C-F2BB-D7F4FE2CD854}"/>
          </ac:spMkLst>
        </pc:spChg>
        <pc:spChg chg="mod">
          <ac:chgData name="Krishna  Patel" userId="ed2200d0-4eed-40c6-ab36-78bc62005773" providerId="ADAL" clId="{E56EB9E9-1E01-4995-937D-98B474E60653}" dt="2025-06-10T07:17:54.857" v="2" actId="2711"/>
          <ac:spMkLst>
            <pc:docMk/>
            <pc:sldMk cId="3809681679" sldId="1478"/>
            <ac:spMk id="4" creationId="{F5B19B60-AEF1-FC0A-EA1E-F82F245907B9}"/>
          </ac:spMkLst>
        </pc:spChg>
        <pc:spChg chg="mod">
          <ac:chgData name="Krishna  Patel" userId="ed2200d0-4eed-40c6-ab36-78bc62005773" providerId="ADAL" clId="{E56EB9E9-1E01-4995-937D-98B474E60653}" dt="2025-06-10T07:17:54.857" v="2" actId="2711"/>
          <ac:spMkLst>
            <pc:docMk/>
            <pc:sldMk cId="3809681679" sldId="1478"/>
            <ac:spMk id="7" creationId="{F7AC0EB3-8961-3B04-20F5-B4637D5B6F81}"/>
          </ac:spMkLst>
        </pc:spChg>
        <pc:spChg chg="mod">
          <ac:chgData name="Krishna  Patel" userId="ed2200d0-4eed-40c6-ab36-78bc62005773" providerId="ADAL" clId="{E56EB9E9-1E01-4995-937D-98B474E60653}" dt="2025-06-10T07:17:54.857" v="2" actId="2711"/>
          <ac:spMkLst>
            <pc:docMk/>
            <pc:sldMk cId="3809681679" sldId="1478"/>
            <ac:spMk id="8" creationId="{06DC361C-3917-A953-9775-4D5870594D4A}"/>
          </ac:spMkLst>
        </pc:spChg>
      </pc:sldChg>
      <pc:sldChg chg="modSp mod">
        <pc:chgData name="Krishna  Patel" userId="ed2200d0-4eed-40c6-ab36-78bc62005773" providerId="ADAL" clId="{E56EB9E9-1E01-4995-937D-98B474E60653}" dt="2025-06-10T08:50:02.809" v="44" actId="1076"/>
        <pc:sldMkLst>
          <pc:docMk/>
          <pc:sldMk cId="2015119999" sldId="1479"/>
        </pc:sldMkLst>
        <pc:spChg chg="mod">
          <ac:chgData name="Krishna  Patel" userId="ed2200d0-4eed-40c6-ab36-78bc62005773" providerId="ADAL" clId="{E56EB9E9-1E01-4995-937D-98B474E60653}" dt="2025-06-10T07:17:43.811" v="1" actId="2711"/>
          <ac:spMkLst>
            <pc:docMk/>
            <pc:sldMk cId="2015119999" sldId="1479"/>
            <ac:spMk id="2" creationId="{BA7BCB71-916B-FC72-A2DD-D72F82770D0B}"/>
          </ac:spMkLst>
        </pc:spChg>
        <pc:spChg chg="mod">
          <ac:chgData name="Krishna  Patel" userId="ed2200d0-4eed-40c6-ab36-78bc62005773" providerId="ADAL" clId="{E56EB9E9-1E01-4995-937D-98B474E60653}" dt="2025-06-10T08:50:02.809" v="44" actId="1076"/>
          <ac:spMkLst>
            <pc:docMk/>
            <pc:sldMk cId="2015119999" sldId="1479"/>
            <ac:spMk id="3" creationId="{7565DF4E-44A0-8990-7F6B-145F5B8315A0}"/>
          </ac:spMkLst>
        </pc:spChg>
        <pc:spChg chg="mod">
          <ac:chgData name="Krishna  Patel" userId="ed2200d0-4eed-40c6-ab36-78bc62005773" providerId="ADAL" clId="{E56EB9E9-1E01-4995-937D-98B474E60653}" dt="2025-06-10T07:17:43.811" v="1" actId="2711"/>
          <ac:spMkLst>
            <pc:docMk/>
            <pc:sldMk cId="2015119999" sldId="1479"/>
            <ac:spMk id="4" creationId="{6E9EFC0A-7C9A-79A0-DBAB-134D8277D080}"/>
          </ac:spMkLst>
        </pc:spChg>
        <pc:spChg chg="mod">
          <ac:chgData name="Krishna  Patel" userId="ed2200d0-4eed-40c6-ab36-78bc62005773" providerId="ADAL" clId="{E56EB9E9-1E01-4995-937D-98B474E60653}" dt="2025-06-10T07:17:43.811" v="1" actId="2711"/>
          <ac:spMkLst>
            <pc:docMk/>
            <pc:sldMk cId="2015119999" sldId="1479"/>
            <ac:spMk id="7" creationId="{6CD2948E-C78A-823C-E443-C732C763161B}"/>
          </ac:spMkLst>
        </pc:spChg>
        <pc:spChg chg="mod">
          <ac:chgData name="Krishna  Patel" userId="ed2200d0-4eed-40c6-ab36-78bc62005773" providerId="ADAL" clId="{E56EB9E9-1E01-4995-937D-98B474E60653}" dt="2025-06-10T07:17:43.811" v="1" actId="2711"/>
          <ac:spMkLst>
            <pc:docMk/>
            <pc:sldMk cId="2015119999" sldId="1479"/>
            <ac:spMk id="8" creationId="{18320FBD-15B0-0B99-3C9E-6AD5804B4F95}"/>
          </ac:spMkLst>
        </pc:spChg>
      </pc:sldChg>
      <pc:sldChg chg="modSp mod">
        <pc:chgData name="Krishna  Patel" userId="ed2200d0-4eed-40c6-ab36-78bc62005773" providerId="ADAL" clId="{E56EB9E9-1E01-4995-937D-98B474E60653}" dt="2025-06-10T08:57:38.975" v="72" actId="14100"/>
        <pc:sldMkLst>
          <pc:docMk/>
          <pc:sldMk cId="1844276349" sldId="1481"/>
        </pc:sldMkLst>
        <pc:grpChg chg="mod">
          <ac:chgData name="Krishna  Patel" userId="ed2200d0-4eed-40c6-ab36-78bc62005773" providerId="ADAL" clId="{E56EB9E9-1E01-4995-937D-98B474E60653}" dt="2025-06-10T08:57:38.975" v="72" actId="14100"/>
          <ac:grpSpMkLst>
            <pc:docMk/>
            <pc:sldMk cId="1844276349" sldId="1481"/>
            <ac:grpSpMk id="10" creationId="{D89A8647-44AC-6F58-CA32-A4F894E54548}"/>
          </ac:grpSpMkLst>
        </pc:grpChg>
      </pc:sldChg>
      <pc:sldChg chg="modSp mod">
        <pc:chgData name="Krishna  Patel" userId="ed2200d0-4eed-40c6-ab36-78bc62005773" providerId="ADAL" clId="{E56EB9E9-1E01-4995-937D-98B474E60653}" dt="2025-06-10T08:55:30.808" v="62" actId="2711"/>
        <pc:sldMkLst>
          <pc:docMk/>
          <pc:sldMk cId="881074547" sldId="1483"/>
        </pc:sldMkLst>
        <pc:spChg chg="mod">
          <ac:chgData name="Krishna  Patel" userId="ed2200d0-4eed-40c6-ab36-78bc62005773" providerId="ADAL" clId="{E56EB9E9-1E01-4995-937D-98B474E60653}" dt="2025-06-10T08:55:30.808" v="62" actId="2711"/>
          <ac:spMkLst>
            <pc:docMk/>
            <pc:sldMk cId="881074547" sldId="1483"/>
            <ac:spMk id="2" creationId="{AAC1CECF-8F08-D075-838A-BA6A3C5AD9CF}"/>
          </ac:spMkLst>
        </pc:spChg>
        <pc:spChg chg="mod">
          <ac:chgData name="Krishna  Patel" userId="ed2200d0-4eed-40c6-ab36-78bc62005773" providerId="ADAL" clId="{E56EB9E9-1E01-4995-937D-98B474E60653}" dt="2025-06-10T08:55:30.808" v="62" actId="2711"/>
          <ac:spMkLst>
            <pc:docMk/>
            <pc:sldMk cId="881074547" sldId="1483"/>
            <ac:spMk id="7" creationId="{430B092F-0CA4-E099-963E-304078A18606}"/>
          </ac:spMkLst>
        </pc:spChg>
        <pc:spChg chg="mod">
          <ac:chgData name="Krishna  Patel" userId="ed2200d0-4eed-40c6-ab36-78bc62005773" providerId="ADAL" clId="{E56EB9E9-1E01-4995-937D-98B474E60653}" dt="2025-06-10T08:55:30.808" v="62" actId="2711"/>
          <ac:spMkLst>
            <pc:docMk/>
            <pc:sldMk cId="881074547" sldId="1483"/>
            <ac:spMk id="8" creationId="{6D4DBB00-B590-FACE-C35C-6BA928310D2A}"/>
          </ac:spMkLst>
        </pc:spChg>
        <pc:spChg chg="mod">
          <ac:chgData name="Krishna  Patel" userId="ed2200d0-4eed-40c6-ab36-78bc62005773" providerId="ADAL" clId="{E56EB9E9-1E01-4995-937D-98B474E60653}" dt="2025-06-10T08:55:30.808" v="62" actId="2711"/>
          <ac:spMkLst>
            <pc:docMk/>
            <pc:sldMk cId="881074547" sldId="1483"/>
            <ac:spMk id="9" creationId="{05C1C0F5-7F6A-18E0-A3F4-CBDA360447D1}"/>
          </ac:spMkLst>
        </pc:spChg>
        <pc:spChg chg="mod">
          <ac:chgData name="Krishna  Patel" userId="ed2200d0-4eed-40c6-ab36-78bc62005773" providerId="ADAL" clId="{E56EB9E9-1E01-4995-937D-98B474E60653}" dt="2025-06-10T08:55:30.808" v="62" actId="2711"/>
          <ac:spMkLst>
            <pc:docMk/>
            <pc:sldMk cId="881074547" sldId="1483"/>
            <ac:spMk id="11" creationId="{BC77167C-7A80-25F3-DEE0-625DF3EAC016}"/>
          </ac:spMkLst>
        </pc:spChg>
      </pc:sldChg>
      <pc:sldChg chg="modSp">
        <pc:chgData name="Krishna  Patel" userId="ed2200d0-4eed-40c6-ab36-78bc62005773" providerId="ADAL" clId="{E56EB9E9-1E01-4995-937D-98B474E60653}" dt="2025-06-10T08:56:11.488" v="65" actId="2711"/>
        <pc:sldMkLst>
          <pc:docMk/>
          <pc:sldMk cId="4081262848" sldId="1484"/>
        </pc:sldMkLst>
        <pc:spChg chg="mod">
          <ac:chgData name="Krishna  Patel" userId="ed2200d0-4eed-40c6-ab36-78bc62005773" providerId="ADAL" clId="{E56EB9E9-1E01-4995-937D-98B474E60653}" dt="2025-06-10T08:55:54.865" v="63" actId="2711"/>
          <ac:spMkLst>
            <pc:docMk/>
            <pc:sldMk cId="4081262848" sldId="1484"/>
            <ac:spMk id="2" creationId="{B4AAD586-861F-7BD3-CF67-7D9ADFA7228F}"/>
          </ac:spMkLst>
        </pc:spChg>
        <pc:spChg chg="mod">
          <ac:chgData name="Krishna  Patel" userId="ed2200d0-4eed-40c6-ab36-78bc62005773" providerId="ADAL" clId="{E56EB9E9-1E01-4995-937D-98B474E60653}" dt="2025-06-10T08:55:54.865" v="63" actId="2711"/>
          <ac:spMkLst>
            <pc:docMk/>
            <pc:sldMk cId="4081262848" sldId="1484"/>
            <ac:spMk id="7" creationId="{8A0FA717-DAE9-A3EC-31A1-8E05C7EE831B}"/>
          </ac:spMkLst>
        </pc:spChg>
        <pc:spChg chg="mod">
          <ac:chgData name="Krishna  Patel" userId="ed2200d0-4eed-40c6-ab36-78bc62005773" providerId="ADAL" clId="{E56EB9E9-1E01-4995-937D-98B474E60653}" dt="2025-06-10T08:55:54.865" v="63" actId="2711"/>
          <ac:spMkLst>
            <pc:docMk/>
            <pc:sldMk cId="4081262848" sldId="1484"/>
            <ac:spMk id="8" creationId="{5DEED1DE-10ED-531C-CDDA-ED0F2BC7FB07}"/>
          </ac:spMkLst>
        </pc:spChg>
        <pc:spChg chg="mod">
          <ac:chgData name="Krishna  Patel" userId="ed2200d0-4eed-40c6-ab36-78bc62005773" providerId="ADAL" clId="{E56EB9E9-1E01-4995-937D-98B474E60653}" dt="2025-06-10T08:55:54.865" v="63" actId="2711"/>
          <ac:spMkLst>
            <pc:docMk/>
            <pc:sldMk cId="4081262848" sldId="1484"/>
            <ac:spMk id="11" creationId="{0E4518C5-E9C1-0275-14C4-8C61EB755D7B}"/>
          </ac:spMkLst>
        </pc:spChg>
        <pc:graphicFrameChg chg="mod">
          <ac:chgData name="Krishna  Patel" userId="ed2200d0-4eed-40c6-ab36-78bc62005773" providerId="ADAL" clId="{E56EB9E9-1E01-4995-937D-98B474E60653}" dt="2025-06-10T08:56:11.488" v="65" actId="2711"/>
          <ac:graphicFrameMkLst>
            <pc:docMk/>
            <pc:sldMk cId="4081262848" sldId="1484"/>
            <ac:graphicFrameMk id="4" creationId="{9CE541A5-31BB-9AE8-2FD5-ED2EF7FF58D5}"/>
          </ac:graphicFrameMkLst>
        </pc:graphicFrameChg>
      </pc:sldChg>
      <pc:sldChg chg="modSp mod">
        <pc:chgData name="Krishna  Patel" userId="ed2200d0-4eed-40c6-ab36-78bc62005773" providerId="ADAL" clId="{E56EB9E9-1E01-4995-937D-98B474E60653}" dt="2025-06-10T08:56:22.079" v="66" actId="1076"/>
        <pc:sldMkLst>
          <pc:docMk/>
          <pc:sldMk cId="2521043094" sldId="1485"/>
        </pc:sldMkLst>
        <pc:spChg chg="mod">
          <ac:chgData name="Krishna  Patel" userId="ed2200d0-4eed-40c6-ab36-78bc62005773" providerId="ADAL" clId="{E56EB9E9-1E01-4995-937D-98B474E60653}" dt="2025-06-10T08:56:22.079" v="66" actId="1076"/>
          <ac:spMkLst>
            <pc:docMk/>
            <pc:sldMk cId="2521043094" sldId="1485"/>
            <ac:spMk id="9" creationId="{3D85A627-3187-BA02-089C-7550BD8BA685}"/>
          </ac:spMkLst>
        </pc:spChg>
      </pc:sldChg>
      <pc:sldChg chg="modSp">
        <pc:chgData name="Krishna  Patel" userId="ed2200d0-4eed-40c6-ab36-78bc62005773" providerId="ADAL" clId="{E56EB9E9-1E01-4995-937D-98B474E60653}" dt="2025-06-10T08:56:51.963" v="68" actId="255"/>
        <pc:sldMkLst>
          <pc:docMk/>
          <pc:sldMk cId="245077087" sldId="1486"/>
        </pc:sldMkLst>
        <pc:graphicFrameChg chg="mod">
          <ac:chgData name="Krishna  Patel" userId="ed2200d0-4eed-40c6-ab36-78bc62005773" providerId="ADAL" clId="{E56EB9E9-1E01-4995-937D-98B474E60653}" dt="2025-06-10T08:56:51.963" v="68" actId="255"/>
          <ac:graphicFrameMkLst>
            <pc:docMk/>
            <pc:sldMk cId="245077087" sldId="1486"/>
            <ac:graphicFrameMk id="4" creationId="{FDCA697E-4866-6D0E-CD20-AAF094CEBE61}"/>
          </ac:graphicFrameMkLst>
        </pc:graphicFrameChg>
      </pc:sldChg>
      <pc:sldChg chg="modSp mod">
        <pc:chgData name="Krishna  Patel" userId="ed2200d0-4eed-40c6-ab36-78bc62005773" providerId="ADAL" clId="{E56EB9E9-1E01-4995-937D-98B474E60653}" dt="2025-06-10T08:57:14.941" v="71" actId="1076"/>
        <pc:sldMkLst>
          <pc:docMk/>
          <pc:sldMk cId="1349145241" sldId="1487"/>
        </pc:sldMkLst>
        <pc:spChg chg="mod">
          <ac:chgData name="Krishna  Patel" userId="ed2200d0-4eed-40c6-ab36-78bc62005773" providerId="ADAL" clId="{E56EB9E9-1E01-4995-937D-98B474E60653}" dt="2025-06-10T08:57:01.271" v="69" actId="2711"/>
          <ac:spMkLst>
            <pc:docMk/>
            <pc:sldMk cId="1349145241" sldId="1487"/>
            <ac:spMk id="2" creationId="{7B2C060C-C60C-CE5B-D0DF-D5EB2B3C2012}"/>
          </ac:spMkLst>
        </pc:spChg>
        <pc:spChg chg="mod">
          <ac:chgData name="Krishna  Patel" userId="ed2200d0-4eed-40c6-ab36-78bc62005773" providerId="ADAL" clId="{E56EB9E9-1E01-4995-937D-98B474E60653}" dt="2025-06-10T08:57:01.271" v="69" actId="2711"/>
          <ac:spMkLst>
            <pc:docMk/>
            <pc:sldMk cId="1349145241" sldId="1487"/>
            <ac:spMk id="7" creationId="{75DF30F5-7F50-B1A1-3F84-208C7EB45BA6}"/>
          </ac:spMkLst>
        </pc:spChg>
        <pc:spChg chg="mod">
          <ac:chgData name="Krishna  Patel" userId="ed2200d0-4eed-40c6-ab36-78bc62005773" providerId="ADAL" clId="{E56EB9E9-1E01-4995-937D-98B474E60653}" dt="2025-06-10T08:57:01.271" v="69" actId="2711"/>
          <ac:spMkLst>
            <pc:docMk/>
            <pc:sldMk cId="1349145241" sldId="1487"/>
            <ac:spMk id="8" creationId="{818D8C22-20C2-9710-72A4-6880DBB3C3D8}"/>
          </ac:spMkLst>
        </pc:spChg>
        <pc:spChg chg="mod">
          <ac:chgData name="Krishna  Patel" userId="ed2200d0-4eed-40c6-ab36-78bc62005773" providerId="ADAL" clId="{E56EB9E9-1E01-4995-937D-98B474E60653}" dt="2025-06-10T08:57:14.941" v="71" actId="1076"/>
          <ac:spMkLst>
            <pc:docMk/>
            <pc:sldMk cId="1349145241" sldId="1487"/>
            <ac:spMk id="9" creationId="{D654DD09-6F5D-3B43-9476-DB519F958288}"/>
          </ac:spMkLst>
        </pc:spChg>
        <pc:spChg chg="mod">
          <ac:chgData name="Krishna  Patel" userId="ed2200d0-4eed-40c6-ab36-78bc62005773" providerId="ADAL" clId="{E56EB9E9-1E01-4995-937D-98B474E60653}" dt="2025-06-10T08:57:01.271" v="69" actId="2711"/>
          <ac:spMkLst>
            <pc:docMk/>
            <pc:sldMk cId="1349145241" sldId="1487"/>
            <ac:spMk id="11" creationId="{EF5954AA-9D95-3617-62D5-9E1709A86AB3}"/>
          </ac:spMkLst>
        </pc:spChg>
      </pc:sldChg>
      <pc:sldChg chg="modSp mod">
        <pc:chgData name="Krishna  Patel" userId="ed2200d0-4eed-40c6-ab36-78bc62005773" providerId="ADAL" clId="{E56EB9E9-1E01-4995-937D-98B474E60653}" dt="2025-06-10T09:02:17.599" v="115" actId="1038"/>
        <pc:sldMkLst>
          <pc:docMk/>
          <pc:sldMk cId="2382565619" sldId="1490"/>
        </pc:sldMkLst>
        <pc:spChg chg="mod">
          <ac:chgData name="Krishna  Patel" userId="ed2200d0-4eed-40c6-ab36-78bc62005773" providerId="ADAL" clId="{E56EB9E9-1E01-4995-937D-98B474E60653}" dt="2025-06-10T09:01:56.496" v="101" actId="2711"/>
          <ac:spMkLst>
            <pc:docMk/>
            <pc:sldMk cId="2382565619" sldId="1490"/>
            <ac:spMk id="4" creationId="{5AC6F8CD-B88D-D8C1-3A8C-D5B11960C76D}"/>
          </ac:spMkLst>
        </pc:spChg>
        <pc:spChg chg="mod">
          <ac:chgData name="Krishna  Patel" userId="ed2200d0-4eed-40c6-ab36-78bc62005773" providerId="ADAL" clId="{E56EB9E9-1E01-4995-937D-98B474E60653}" dt="2025-06-10T09:01:56.496" v="101" actId="2711"/>
          <ac:spMkLst>
            <pc:docMk/>
            <pc:sldMk cId="2382565619" sldId="1490"/>
            <ac:spMk id="6" creationId="{30C6100E-3CD6-E904-91A9-CC564E161A56}"/>
          </ac:spMkLst>
        </pc:spChg>
        <pc:spChg chg="mod">
          <ac:chgData name="Krishna  Patel" userId="ed2200d0-4eed-40c6-ab36-78bc62005773" providerId="ADAL" clId="{E56EB9E9-1E01-4995-937D-98B474E60653}" dt="2025-06-10T09:01:56.496" v="101" actId="2711"/>
          <ac:spMkLst>
            <pc:docMk/>
            <pc:sldMk cId="2382565619" sldId="1490"/>
            <ac:spMk id="8" creationId="{C5ED17BA-B779-529F-03AC-B4AA26E543BB}"/>
          </ac:spMkLst>
        </pc:spChg>
        <pc:spChg chg="mod">
          <ac:chgData name="Krishna  Patel" userId="ed2200d0-4eed-40c6-ab36-78bc62005773" providerId="ADAL" clId="{E56EB9E9-1E01-4995-937D-98B474E60653}" dt="2025-06-10T09:01:56.496" v="101" actId="2711"/>
          <ac:spMkLst>
            <pc:docMk/>
            <pc:sldMk cId="2382565619" sldId="1490"/>
            <ac:spMk id="9" creationId="{1BE85513-65A7-9C0D-8280-0BBB5DAC25F7}"/>
          </ac:spMkLst>
        </pc:spChg>
        <pc:spChg chg="mod">
          <ac:chgData name="Krishna  Patel" userId="ed2200d0-4eed-40c6-ab36-78bc62005773" providerId="ADAL" clId="{E56EB9E9-1E01-4995-937D-98B474E60653}" dt="2025-06-10T09:01:56.496" v="101" actId="2711"/>
          <ac:spMkLst>
            <pc:docMk/>
            <pc:sldMk cId="2382565619" sldId="1490"/>
            <ac:spMk id="24" creationId="{F002FE78-C408-59E6-0D86-C0FB5A81E40B}"/>
          </ac:spMkLst>
        </pc:spChg>
        <pc:spChg chg="mod">
          <ac:chgData name="Krishna  Patel" userId="ed2200d0-4eed-40c6-ab36-78bc62005773" providerId="ADAL" clId="{E56EB9E9-1E01-4995-937D-98B474E60653}" dt="2025-06-10T09:02:17.599" v="115" actId="1038"/>
          <ac:spMkLst>
            <pc:docMk/>
            <pc:sldMk cId="2382565619" sldId="1490"/>
            <ac:spMk id="29" creationId="{C91268D8-237E-B0A0-6D47-AF4D5D059076}"/>
          </ac:spMkLst>
        </pc:spChg>
      </pc:sldChg>
      <pc:sldChg chg="modSp mod">
        <pc:chgData name="Krishna  Patel" userId="ed2200d0-4eed-40c6-ab36-78bc62005773" providerId="ADAL" clId="{E56EB9E9-1E01-4995-937D-98B474E60653}" dt="2025-06-10T09:04:36.148" v="165" actId="113"/>
        <pc:sldMkLst>
          <pc:docMk/>
          <pc:sldMk cId="127296720" sldId="1491"/>
        </pc:sldMkLst>
        <pc:spChg chg="mod">
          <ac:chgData name="Krishna  Patel" userId="ed2200d0-4eed-40c6-ab36-78bc62005773" providerId="ADAL" clId="{E56EB9E9-1E01-4995-937D-98B474E60653}" dt="2025-06-10T09:04:36.148" v="165" actId="113"/>
          <ac:spMkLst>
            <pc:docMk/>
            <pc:sldMk cId="127296720" sldId="1491"/>
            <ac:spMk id="2" creationId="{A38A8F77-519A-026D-3805-5A86AE309536}"/>
          </ac:spMkLst>
        </pc:spChg>
      </pc:sldChg>
      <pc:sldChg chg="modSp mod">
        <pc:chgData name="Krishna  Patel" userId="ed2200d0-4eed-40c6-ab36-78bc62005773" providerId="ADAL" clId="{E56EB9E9-1E01-4995-937D-98B474E60653}" dt="2025-06-10T09:05:07.391" v="183" actId="1076"/>
        <pc:sldMkLst>
          <pc:docMk/>
          <pc:sldMk cId="1158807392" sldId="1493"/>
        </pc:sldMkLst>
        <pc:spChg chg="mod">
          <ac:chgData name="Krishna  Patel" userId="ed2200d0-4eed-40c6-ab36-78bc62005773" providerId="ADAL" clId="{E56EB9E9-1E01-4995-937D-98B474E60653}" dt="2025-06-10T09:04:57.148" v="181" actId="113"/>
          <ac:spMkLst>
            <pc:docMk/>
            <pc:sldMk cId="1158807392" sldId="1493"/>
            <ac:spMk id="2" creationId="{64A51FB7-10EF-6A50-F373-1C2E9415A7BE}"/>
          </ac:spMkLst>
        </pc:spChg>
        <pc:spChg chg="mod">
          <ac:chgData name="Krishna  Patel" userId="ed2200d0-4eed-40c6-ab36-78bc62005773" providerId="ADAL" clId="{E56EB9E9-1E01-4995-937D-98B474E60653}" dt="2025-06-10T09:04:49.481" v="171" actId="1037"/>
          <ac:spMkLst>
            <pc:docMk/>
            <pc:sldMk cId="1158807392" sldId="1493"/>
            <ac:spMk id="6" creationId="{3C5589BF-BA0B-1508-7CF6-12995291A67B}"/>
          </ac:spMkLst>
        </pc:spChg>
      </pc:sldChg>
      <pc:sldChg chg="modSp mod">
        <pc:chgData name="Krishna  Patel" userId="ed2200d0-4eed-40c6-ab36-78bc62005773" providerId="ADAL" clId="{E56EB9E9-1E01-4995-937D-98B474E60653}" dt="2025-06-10T09:05:45.634" v="205" actId="113"/>
        <pc:sldMkLst>
          <pc:docMk/>
          <pc:sldMk cId="604848690" sldId="1494"/>
        </pc:sldMkLst>
        <pc:spChg chg="mod">
          <ac:chgData name="Krishna  Patel" userId="ed2200d0-4eed-40c6-ab36-78bc62005773" providerId="ADAL" clId="{E56EB9E9-1E01-4995-937D-98B474E60653}" dt="2025-06-10T09:05:45.634" v="205" actId="113"/>
          <ac:spMkLst>
            <pc:docMk/>
            <pc:sldMk cId="604848690" sldId="1494"/>
            <ac:spMk id="2" creationId="{65A0A03D-DB90-C1F4-FFC8-797F47F79FFA}"/>
          </ac:spMkLst>
        </pc:spChg>
      </pc:sldChg>
      <pc:sldChg chg="modSp mod">
        <pc:chgData name="Krishna  Patel" userId="ed2200d0-4eed-40c6-ab36-78bc62005773" providerId="ADAL" clId="{E56EB9E9-1E01-4995-937D-98B474E60653}" dt="2025-06-10T09:06:19.920" v="219" actId="1076"/>
        <pc:sldMkLst>
          <pc:docMk/>
          <pc:sldMk cId="1130605282" sldId="1495"/>
        </pc:sldMkLst>
        <pc:spChg chg="mod">
          <ac:chgData name="Krishna  Patel" userId="ed2200d0-4eed-40c6-ab36-78bc62005773" providerId="ADAL" clId="{E56EB9E9-1E01-4995-937D-98B474E60653}" dt="2025-06-10T09:05:53.283" v="212" actId="113"/>
          <ac:spMkLst>
            <pc:docMk/>
            <pc:sldMk cId="1130605282" sldId="1495"/>
            <ac:spMk id="2" creationId="{3B855953-583E-F2FC-F34B-1DA3DC13678F}"/>
          </ac:spMkLst>
        </pc:spChg>
        <pc:spChg chg="mod">
          <ac:chgData name="Krishna  Patel" userId="ed2200d0-4eed-40c6-ab36-78bc62005773" providerId="ADAL" clId="{E56EB9E9-1E01-4995-937D-98B474E60653}" dt="2025-06-10T09:06:07.339" v="218" actId="1076"/>
          <ac:spMkLst>
            <pc:docMk/>
            <pc:sldMk cId="1130605282" sldId="1495"/>
            <ac:spMk id="14" creationId="{7B828082-E77B-19E6-4C53-7B53635BBA7D}"/>
          </ac:spMkLst>
        </pc:spChg>
      </pc:sldChg>
      <pc:sldChg chg="modSp mod">
        <pc:chgData name="Krishna  Patel" userId="ed2200d0-4eed-40c6-ab36-78bc62005773" providerId="ADAL" clId="{E56EB9E9-1E01-4995-937D-98B474E60653}" dt="2025-06-10T09:06:59.059" v="243" actId="1036"/>
        <pc:sldMkLst>
          <pc:docMk/>
          <pc:sldMk cId="1523651696" sldId="1496"/>
        </pc:sldMkLst>
        <pc:spChg chg="mod">
          <ac:chgData name="Krishna  Patel" userId="ed2200d0-4eed-40c6-ab36-78bc62005773" providerId="ADAL" clId="{E56EB9E9-1E01-4995-937D-98B474E60653}" dt="2025-06-10T09:06:59.059" v="243" actId="1036"/>
          <ac:spMkLst>
            <pc:docMk/>
            <pc:sldMk cId="1523651696" sldId="1496"/>
            <ac:spMk id="2" creationId="{4D4C6BF0-CDB7-DF7D-C439-6E9FF3AEFFB5}"/>
          </ac:spMkLst>
        </pc:spChg>
      </pc:sldChg>
      <pc:sldChg chg="modSp mod">
        <pc:chgData name="Krishna  Patel" userId="ed2200d0-4eed-40c6-ab36-78bc62005773" providerId="ADAL" clId="{E56EB9E9-1E01-4995-937D-98B474E60653}" dt="2025-06-10T09:05:24.645" v="197" actId="113"/>
        <pc:sldMkLst>
          <pc:docMk/>
          <pc:sldMk cId="2417004778" sldId="1498"/>
        </pc:sldMkLst>
        <pc:spChg chg="mod">
          <ac:chgData name="Krishna  Patel" userId="ed2200d0-4eed-40c6-ab36-78bc62005773" providerId="ADAL" clId="{E56EB9E9-1E01-4995-937D-98B474E60653}" dt="2025-06-10T09:05:24.645" v="197" actId="113"/>
          <ac:spMkLst>
            <pc:docMk/>
            <pc:sldMk cId="2417004778" sldId="1498"/>
            <ac:spMk id="2" creationId="{35491DF4-62FB-E029-1DAD-8F74F1CFC744}"/>
          </ac:spMkLst>
        </pc:spChg>
      </pc:sldChg>
      <pc:sldChg chg="modSp mod">
        <pc:chgData name="Krishna  Patel" userId="ed2200d0-4eed-40c6-ab36-78bc62005773" providerId="ADAL" clId="{E56EB9E9-1E01-4995-937D-98B474E60653}" dt="2025-06-10T09:04:29.165" v="158" actId="113"/>
        <pc:sldMkLst>
          <pc:docMk/>
          <pc:sldMk cId="88185852" sldId="1499"/>
        </pc:sldMkLst>
        <pc:spChg chg="mod">
          <ac:chgData name="Krishna  Patel" userId="ed2200d0-4eed-40c6-ab36-78bc62005773" providerId="ADAL" clId="{E56EB9E9-1E01-4995-937D-98B474E60653}" dt="2025-06-10T09:04:29.165" v="158" actId="113"/>
          <ac:spMkLst>
            <pc:docMk/>
            <pc:sldMk cId="88185852" sldId="1499"/>
            <ac:spMk id="2" creationId="{95057665-1C5E-06E3-A330-5A4DA33295A6}"/>
          </ac:spMkLst>
        </pc:spChg>
        <pc:spChg chg="mod">
          <ac:chgData name="Krishna  Patel" userId="ed2200d0-4eed-40c6-ab36-78bc62005773" providerId="ADAL" clId="{E56EB9E9-1E01-4995-937D-98B474E60653}" dt="2025-06-10T09:04:01.470" v="151" actId="14100"/>
          <ac:spMkLst>
            <pc:docMk/>
            <pc:sldMk cId="88185852" sldId="1499"/>
            <ac:spMk id="6" creationId="{94A61F51-0B5B-84EF-348B-090A07A3937C}"/>
          </ac:spMkLst>
        </pc:spChg>
      </pc:sldChg>
      <pc:sldChg chg="modSp mod">
        <pc:chgData name="Krishna  Patel" userId="ed2200d0-4eed-40c6-ab36-78bc62005773" providerId="ADAL" clId="{E56EB9E9-1E01-4995-937D-98B474E60653}" dt="2025-06-10T09:05:16.379" v="190" actId="113"/>
        <pc:sldMkLst>
          <pc:docMk/>
          <pc:sldMk cId="1739768020" sldId="1500"/>
        </pc:sldMkLst>
        <pc:spChg chg="mod">
          <ac:chgData name="Krishna  Patel" userId="ed2200d0-4eed-40c6-ab36-78bc62005773" providerId="ADAL" clId="{E56EB9E9-1E01-4995-937D-98B474E60653}" dt="2025-06-10T09:05:16.379" v="190" actId="113"/>
          <ac:spMkLst>
            <pc:docMk/>
            <pc:sldMk cId="1739768020" sldId="1500"/>
            <ac:spMk id="2" creationId="{7D4CF3CD-4632-EEEF-74BE-A64F8ECB54D5}"/>
          </ac:spMkLst>
        </pc:spChg>
      </pc:sldChg>
      <pc:sldChg chg="modSp mod">
        <pc:chgData name="Krishna  Patel" userId="ed2200d0-4eed-40c6-ab36-78bc62005773" providerId="ADAL" clId="{E56EB9E9-1E01-4995-937D-98B474E60653}" dt="2025-06-10T09:06:28.597" v="225" actId="113"/>
        <pc:sldMkLst>
          <pc:docMk/>
          <pc:sldMk cId="740212731" sldId="1501"/>
        </pc:sldMkLst>
        <pc:spChg chg="mod">
          <ac:chgData name="Krishna  Patel" userId="ed2200d0-4eed-40c6-ab36-78bc62005773" providerId="ADAL" clId="{E56EB9E9-1E01-4995-937D-98B474E60653}" dt="2025-06-10T09:06:28.597" v="225" actId="113"/>
          <ac:spMkLst>
            <pc:docMk/>
            <pc:sldMk cId="740212731" sldId="1501"/>
            <ac:spMk id="2" creationId="{8C4E9843-0C74-73F3-2482-ADE6F6DBF17B}"/>
          </ac:spMkLst>
        </pc:spChg>
      </pc:sldChg>
      <pc:sldChg chg="modSp mod">
        <pc:chgData name="Krishna  Patel" userId="ed2200d0-4eed-40c6-ab36-78bc62005773" providerId="ADAL" clId="{E56EB9E9-1E01-4995-937D-98B474E60653}" dt="2025-06-10T09:07:01.478" v="244" actId="1036"/>
        <pc:sldMkLst>
          <pc:docMk/>
          <pc:sldMk cId="3432880316" sldId="1502"/>
        </pc:sldMkLst>
        <pc:spChg chg="mod">
          <ac:chgData name="Krishna  Patel" userId="ed2200d0-4eed-40c6-ab36-78bc62005773" providerId="ADAL" clId="{E56EB9E9-1E01-4995-937D-98B474E60653}" dt="2025-06-10T09:07:01.478" v="244" actId="1036"/>
          <ac:spMkLst>
            <pc:docMk/>
            <pc:sldMk cId="3432880316" sldId="1502"/>
            <ac:spMk id="2" creationId="{90D8DBB4-2255-202F-0213-F8AE2B141ABE}"/>
          </ac:spMkLst>
        </pc:spChg>
      </pc:sldChg>
      <pc:sldChg chg="modSp mod">
        <pc:chgData name="Krishna  Patel" userId="ed2200d0-4eed-40c6-ab36-78bc62005773" providerId="ADAL" clId="{E56EB9E9-1E01-4995-937D-98B474E60653}" dt="2025-06-10T09:10:01.658" v="307" actId="2711"/>
        <pc:sldMkLst>
          <pc:docMk/>
          <pc:sldMk cId="3370607659" sldId="1504"/>
        </pc:sldMkLst>
        <pc:spChg chg="mod">
          <ac:chgData name="Krishna  Patel" userId="ed2200d0-4eed-40c6-ab36-78bc62005773" providerId="ADAL" clId="{E56EB9E9-1E01-4995-937D-98B474E60653}" dt="2025-06-10T09:08:32.757" v="301" actId="113"/>
          <ac:spMkLst>
            <pc:docMk/>
            <pc:sldMk cId="3370607659" sldId="1504"/>
            <ac:spMk id="2" creationId="{64C1C827-EFEB-5D9F-583C-AB91412DE78C}"/>
          </ac:spMkLst>
        </pc:spChg>
        <pc:graphicFrameChg chg="mod modGraphic">
          <ac:chgData name="Krishna  Patel" userId="ed2200d0-4eed-40c6-ab36-78bc62005773" providerId="ADAL" clId="{E56EB9E9-1E01-4995-937D-98B474E60653}" dt="2025-06-10T09:10:01.658" v="307" actId="2711"/>
          <ac:graphicFrameMkLst>
            <pc:docMk/>
            <pc:sldMk cId="3370607659" sldId="1504"/>
            <ac:graphicFrameMk id="4" creationId="{46EF9EF4-6CE7-D863-FAE1-5F1008A6A553}"/>
          </ac:graphicFrameMkLst>
        </pc:graphicFrameChg>
      </pc:sldChg>
      <pc:sldChg chg="modSp mod">
        <pc:chgData name="Krishna  Patel" userId="ed2200d0-4eed-40c6-ab36-78bc62005773" providerId="ADAL" clId="{E56EB9E9-1E01-4995-937D-98B474E60653}" dt="2025-06-10T09:12:40.612" v="386" actId="113"/>
        <pc:sldMkLst>
          <pc:docMk/>
          <pc:sldMk cId="2490475139" sldId="1505"/>
        </pc:sldMkLst>
        <pc:spChg chg="mod">
          <ac:chgData name="Krishna  Patel" userId="ed2200d0-4eed-40c6-ab36-78bc62005773" providerId="ADAL" clId="{E56EB9E9-1E01-4995-937D-98B474E60653}" dt="2025-06-10T09:12:40.612" v="386" actId="113"/>
          <ac:spMkLst>
            <pc:docMk/>
            <pc:sldMk cId="2490475139" sldId="1505"/>
            <ac:spMk id="2" creationId="{2A121973-2E2C-D5E1-C04F-12A88E9346D5}"/>
          </ac:spMkLst>
        </pc:spChg>
      </pc:sldChg>
      <pc:sldChg chg="modSp mod">
        <pc:chgData name="Krishna  Patel" userId="ed2200d0-4eed-40c6-ab36-78bc62005773" providerId="ADAL" clId="{E56EB9E9-1E01-4995-937D-98B474E60653}" dt="2025-06-10T09:51:45.902" v="1176" actId="1076"/>
        <pc:sldMkLst>
          <pc:docMk/>
          <pc:sldMk cId="162605456" sldId="1506"/>
        </pc:sldMkLst>
        <pc:spChg chg="mod">
          <ac:chgData name="Krishna  Patel" userId="ed2200d0-4eed-40c6-ab36-78bc62005773" providerId="ADAL" clId="{E56EB9E9-1E01-4995-937D-98B474E60653}" dt="2025-06-10T09:51:45.902" v="1176" actId="1076"/>
          <ac:spMkLst>
            <pc:docMk/>
            <pc:sldMk cId="162605456" sldId="1506"/>
            <ac:spMk id="3" creationId="{98BCC8C3-E45B-93AF-1C8C-FB2C15DF8F09}"/>
          </ac:spMkLst>
        </pc:spChg>
        <pc:spChg chg="mod">
          <ac:chgData name="Krishna  Patel" userId="ed2200d0-4eed-40c6-ab36-78bc62005773" providerId="ADAL" clId="{E56EB9E9-1E01-4995-937D-98B474E60653}" dt="2025-06-10T09:51:45.902" v="1176" actId="1076"/>
          <ac:spMkLst>
            <pc:docMk/>
            <pc:sldMk cId="162605456" sldId="1506"/>
            <ac:spMk id="4" creationId="{55A43AE6-35F0-D4E2-DCE2-A7E897CCFD51}"/>
          </ac:spMkLst>
        </pc:spChg>
      </pc:sldChg>
      <pc:sldChg chg="modSp mod">
        <pc:chgData name="Krishna  Patel" userId="ed2200d0-4eed-40c6-ab36-78bc62005773" providerId="ADAL" clId="{E56EB9E9-1E01-4995-937D-98B474E60653}" dt="2025-06-10T09:07:20.490" v="255" actId="1035"/>
        <pc:sldMkLst>
          <pc:docMk/>
          <pc:sldMk cId="4200326097" sldId="1507"/>
        </pc:sldMkLst>
        <pc:spChg chg="mod">
          <ac:chgData name="Krishna  Patel" userId="ed2200d0-4eed-40c6-ab36-78bc62005773" providerId="ADAL" clId="{E56EB9E9-1E01-4995-937D-98B474E60653}" dt="2025-06-10T09:07:20.490" v="255" actId="1035"/>
          <ac:spMkLst>
            <pc:docMk/>
            <pc:sldMk cId="4200326097" sldId="1507"/>
            <ac:spMk id="2" creationId="{AB33044D-1DF6-D4D2-12AB-B5F4246E7868}"/>
          </ac:spMkLst>
        </pc:spChg>
      </pc:sldChg>
      <pc:sldChg chg="modSp mod">
        <pc:chgData name="Krishna  Patel" userId="ed2200d0-4eed-40c6-ab36-78bc62005773" providerId="ADAL" clId="{E56EB9E9-1E01-4995-937D-98B474E60653}" dt="2025-06-10T09:07:34.627" v="267" actId="113"/>
        <pc:sldMkLst>
          <pc:docMk/>
          <pc:sldMk cId="2849670523" sldId="1508"/>
        </pc:sldMkLst>
        <pc:spChg chg="mod">
          <ac:chgData name="Krishna  Patel" userId="ed2200d0-4eed-40c6-ab36-78bc62005773" providerId="ADAL" clId="{E56EB9E9-1E01-4995-937D-98B474E60653}" dt="2025-06-10T09:07:34.627" v="267" actId="113"/>
          <ac:spMkLst>
            <pc:docMk/>
            <pc:sldMk cId="2849670523" sldId="1508"/>
            <ac:spMk id="2" creationId="{2457E66D-3A0D-5B43-A387-9579E88307E4}"/>
          </ac:spMkLst>
        </pc:spChg>
      </pc:sldChg>
      <pc:sldChg chg="modSp mod">
        <pc:chgData name="Krishna  Patel" userId="ed2200d0-4eed-40c6-ab36-78bc62005773" providerId="ADAL" clId="{E56EB9E9-1E01-4995-937D-98B474E60653}" dt="2025-06-10T09:08:20.164" v="294" actId="14100"/>
        <pc:sldMkLst>
          <pc:docMk/>
          <pc:sldMk cId="3142948251" sldId="1509"/>
        </pc:sldMkLst>
        <pc:spChg chg="mod">
          <ac:chgData name="Krishna  Patel" userId="ed2200d0-4eed-40c6-ab36-78bc62005773" providerId="ADAL" clId="{E56EB9E9-1E01-4995-937D-98B474E60653}" dt="2025-06-10T09:07:42.346" v="281" actId="113"/>
          <ac:spMkLst>
            <pc:docMk/>
            <pc:sldMk cId="3142948251" sldId="1509"/>
            <ac:spMk id="2" creationId="{08D58D26-850D-9B2F-F471-B0B9B79AC494}"/>
          </ac:spMkLst>
        </pc:spChg>
      </pc:sldChg>
      <pc:sldChg chg="modSp mod">
        <pc:chgData name="Krishna  Patel" userId="ed2200d0-4eed-40c6-ab36-78bc62005773" providerId="ADAL" clId="{E56EB9E9-1E01-4995-937D-98B474E60653}" dt="2025-06-10T08:58:05.314" v="75" actId="1076"/>
        <pc:sldMkLst>
          <pc:docMk/>
          <pc:sldMk cId="565224556" sldId="1510"/>
        </pc:sldMkLst>
        <pc:spChg chg="mod">
          <ac:chgData name="Krishna  Patel" userId="ed2200d0-4eed-40c6-ab36-78bc62005773" providerId="ADAL" clId="{E56EB9E9-1E01-4995-937D-98B474E60653}" dt="2025-06-10T08:58:05.314" v="75" actId="1076"/>
          <ac:spMkLst>
            <pc:docMk/>
            <pc:sldMk cId="565224556" sldId="1510"/>
            <ac:spMk id="2" creationId="{1B5936FD-1434-8810-7AD4-09AF7C1B2FE1}"/>
          </ac:spMkLst>
        </pc:spChg>
      </pc:sldChg>
      <pc:sldChg chg="modSp add mod">
        <pc:chgData name="Krishna  Patel" userId="ed2200d0-4eed-40c6-ab36-78bc62005773" providerId="ADAL" clId="{E56EB9E9-1E01-4995-937D-98B474E60653}" dt="2025-06-10T09:17:19.885" v="476" actId="113"/>
        <pc:sldMkLst>
          <pc:docMk/>
          <pc:sldMk cId="117637490" sldId="1511"/>
        </pc:sldMkLst>
        <pc:spChg chg="mod">
          <ac:chgData name="Krishna  Patel" userId="ed2200d0-4eed-40c6-ab36-78bc62005773" providerId="ADAL" clId="{E56EB9E9-1E01-4995-937D-98B474E60653}" dt="2025-06-10T09:17:19.885" v="476" actId="113"/>
          <ac:spMkLst>
            <pc:docMk/>
            <pc:sldMk cId="117637490" sldId="1511"/>
            <ac:spMk id="2" creationId="{60C968A0-D78A-29BD-D370-62067E1C3BF7}"/>
          </ac:spMkLst>
        </pc:spChg>
      </pc:sldChg>
      <pc:sldChg chg="modSp add mod">
        <pc:chgData name="Krishna  Patel" userId="ed2200d0-4eed-40c6-ab36-78bc62005773" providerId="ADAL" clId="{E56EB9E9-1E01-4995-937D-98B474E60653}" dt="2025-06-10T09:18:19.699" v="504" actId="113"/>
        <pc:sldMkLst>
          <pc:docMk/>
          <pc:sldMk cId="1876151764" sldId="1512"/>
        </pc:sldMkLst>
        <pc:spChg chg="mod">
          <ac:chgData name="Krishna  Patel" userId="ed2200d0-4eed-40c6-ab36-78bc62005773" providerId="ADAL" clId="{E56EB9E9-1E01-4995-937D-98B474E60653}" dt="2025-06-10T09:18:19.699" v="504" actId="113"/>
          <ac:spMkLst>
            <pc:docMk/>
            <pc:sldMk cId="1876151764" sldId="1512"/>
            <ac:spMk id="2" creationId="{10ED9BC6-94B1-1E40-2DA6-F415B35F1143}"/>
          </ac:spMkLst>
        </pc:spChg>
      </pc:sldChg>
      <pc:sldChg chg="modSp add mod">
        <pc:chgData name="Krishna  Patel" userId="ed2200d0-4eed-40c6-ab36-78bc62005773" providerId="ADAL" clId="{E56EB9E9-1E01-4995-937D-98B474E60653}" dt="2025-06-10T09:19:00.130" v="508" actId="113"/>
        <pc:sldMkLst>
          <pc:docMk/>
          <pc:sldMk cId="403333356" sldId="1513"/>
        </pc:sldMkLst>
        <pc:spChg chg="mod">
          <ac:chgData name="Krishna  Patel" userId="ed2200d0-4eed-40c6-ab36-78bc62005773" providerId="ADAL" clId="{E56EB9E9-1E01-4995-937D-98B474E60653}" dt="2025-06-10T09:19:00.130" v="508" actId="113"/>
          <ac:spMkLst>
            <pc:docMk/>
            <pc:sldMk cId="403333356" sldId="1513"/>
            <ac:spMk id="2" creationId="{FD4A823F-7087-BD38-3EC6-E536FA3032FA}"/>
          </ac:spMkLst>
        </pc:spChg>
      </pc:sldChg>
      <pc:sldChg chg="modSp add mod">
        <pc:chgData name="Krishna  Patel" userId="ed2200d0-4eed-40c6-ab36-78bc62005773" providerId="ADAL" clId="{E56EB9E9-1E01-4995-937D-98B474E60653}" dt="2025-06-10T09:19:24.606" v="512" actId="113"/>
        <pc:sldMkLst>
          <pc:docMk/>
          <pc:sldMk cId="3867998531" sldId="1514"/>
        </pc:sldMkLst>
        <pc:spChg chg="mod">
          <ac:chgData name="Krishna  Patel" userId="ed2200d0-4eed-40c6-ab36-78bc62005773" providerId="ADAL" clId="{E56EB9E9-1E01-4995-937D-98B474E60653}" dt="2025-06-10T09:19:24.606" v="512" actId="113"/>
          <ac:spMkLst>
            <pc:docMk/>
            <pc:sldMk cId="3867998531" sldId="1514"/>
            <ac:spMk id="2" creationId="{CE600453-5AF6-3C07-0D61-C5996D1E7F52}"/>
          </ac:spMkLst>
        </pc:spChg>
      </pc:sldChg>
      <pc:sldChg chg="modSp add mod">
        <pc:chgData name="Krishna  Patel" userId="ed2200d0-4eed-40c6-ab36-78bc62005773" providerId="ADAL" clId="{E56EB9E9-1E01-4995-937D-98B474E60653}" dt="2025-06-10T09:19:47.955" v="516" actId="113"/>
        <pc:sldMkLst>
          <pc:docMk/>
          <pc:sldMk cId="3967225034" sldId="1516"/>
        </pc:sldMkLst>
        <pc:spChg chg="mod">
          <ac:chgData name="Krishna  Patel" userId="ed2200d0-4eed-40c6-ab36-78bc62005773" providerId="ADAL" clId="{E56EB9E9-1E01-4995-937D-98B474E60653}" dt="2025-06-10T09:19:47.955" v="516" actId="113"/>
          <ac:spMkLst>
            <pc:docMk/>
            <pc:sldMk cId="3967225034" sldId="1516"/>
            <ac:spMk id="2" creationId="{CBEEAA53-6F2C-2FD4-35C8-01B37C43CEA4}"/>
          </ac:spMkLst>
        </pc:spChg>
      </pc:sldChg>
      <pc:sldChg chg="modSp add mod">
        <pc:chgData name="Krishna  Patel" userId="ed2200d0-4eed-40c6-ab36-78bc62005773" providerId="ADAL" clId="{E56EB9E9-1E01-4995-937D-98B474E60653}" dt="2025-06-10T09:20:31.293" v="522" actId="113"/>
        <pc:sldMkLst>
          <pc:docMk/>
          <pc:sldMk cId="68260875" sldId="1518"/>
        </pc:sldMkLst>
        <pc:spChg chg="mod">
          <ac:chgData name="Krishna  Patel" userId="ed2200d0-4eed-40c6-ab36-78bc62005773" providerId="ADAL" clId="{E56EB9E9-1E01-4995-937D-98B474E60653}" dt="2025-06-10T09:20:31.293" v="522" actId="113"/>
          <ac:spMkLst>
            <pc:docMk/>
            <pc:sldMk cId="68260875" sldId="1518"/>
            <ac:spMk id="2" creationId="{B72553C1-462F-557C-526B-1B7E7F879C52}"/>
          </ac:spMkLst>
        </pc:spChg>
      </pc:sldChg>
      <pc:sldChg chg="modSp add mod">
        <pc:chgData name="Krishna  Patel" userId="ed2200d0-4eed-40c6-ab36-78bc62005773" providerId="ADAL" clId="{E56EB9E9-1E01-4995-937D-98B474E60653}" dt="2025-06-10T09:21:16.459" v="528" actId="113"/>
        <pc:sldMkLst>
          <pc:docMk/>
          <pc:sldMk cId="2899677496" sldId="1519"/>
        </pc:sldMkLst>
        <pc:spChg chg="mod">
          <ac:chgData name="Krishna  Patel" userId="ed2200d0-4eed-40c6-ab36-78bc62005773" providerId="ADAL" clId="{E56EB9E9-1E01-4995-937D-98B474E60653}" dt="2025-06-10T09:21:16.459" v="528" actId="113"/>
          <ac:spMkLst>
            <pc:docMk/>
            <pc:sldMk cId="2899677496" sldId="1519"/>
            <ac:spMk id="2" creationId="{AE8503D4-042F-3121-5C0B-636E768406E8}"/>
          </ac:spMkLst>
        </pc:spChg>
      </pc:sldChg>
      <pc:sldChg chg="modSp add mod">
        <pc:chgData name="Krishna  Patel" userId="ed2200d0-4eed-40c6-ab36-78bc62005773" providerId="ADAL" clId="{E56EB9E9-1E01-4995-937D-98B474E60653}" dt="2025-06-10T09:23:05.435" v="534" actId="113"/>
        <pc:sldMkLst>
          <pc:docMk/>
          <pc:sldMk cId="449362144" sldId="1520"/>
        </pc:sldMkLst>
        <pc:spChg chg="mod">
          <ac:chgData name="Krishna  Patel" userId="ed2200d0-4eed-40c6-ab36-78bc62005773" providerId="ADAL" clId="{E56EB9E9-1E01-4995-937D-98B474E60653}" dt="2025-06-10T09:23:05.435" v="534" actId="113"/>
          <ac:spMkLst>
            <pc:docMk/>
            <pc:sldMk cId="449362144" sldId="1520"/>
            <ac:spMk id="2" creationId="{A9ECC4C8-BF3D-E8F0-AF7F-A1AA89EFFBF8}"/>
          </ac:spMkLst>
        </pc:spChg>
      </pc:sldChg>
      <pc:sldChg chg="modSp add mod">
        <pc:chgData name="Krishna  Patel" userId="ed2200d0-4eed-40c6-ab36-78bc62005773" providerId="ADAL" clId="{E56EB9E9-1E01-4995-937D-98B474E60653}" dt="2025-06-10T09:25:05.554" v="565" actId="1036"/>
        <pc:sldMkLst>
          <pc:docMk/>
          <pc:sldMk cId="2921432197" sldId="1521"/>
        </pc:sldMkLst>
        <pc:spChg chg="mod">
          <ac:chgData name="Krishna  Patel" userId="ed2200d0-4eed-40c6-ab36-78bc62005773" providerId="ADAL" clId="{E56EB9E9-1E01-4995-937D-98B474E60653}" dt="2025-06-10T09:25:05.554" v="565" actId="1036"/>
          <ac:spMkLst>
            <pc:docMk/>
            <pc:sldMk cId="2921432197" sldId="1521"/>
            <ac:spMk id="2" creationId="{E32D2D02-3A6D-3373-D8C2-6C016C3706F5}"/>
          </ac:spMkLst>
        </pc:spChg>
      </pc:sldChg>
      <pc:sldChg chg="modSp add mod ord">
        <pc:chgData name="Krishna  Patel" userId="ed2200d0-4eed-40c6-ab36-78bc62005773" providerId="ADAL" clId="{E56EB9E9-1E01-4995-937D-98B474E60653}" dt="2025-06-10T09:25:00.763" v="556" actId="113"/>
        <pc:sldMkLst>
          <pc:docMk/>
          <pc:sldMk cId="155678836" sldId="1522"/>
        </pc:sldMkLst>
        <pc:spChg chg="mod">
          <ac:chgData name="Krishna  Patel" userId="ed2200d0-4eed-40c6-ab36-78bc62005773" providerId="ADAL" clId="{E56EB9E9-1E01-4995-937D-98B474E60653}" dt="2025-06-10T09:25:00.763" v="556" actId="113"/>
          <ac:spMkLst>
            <pc:docMk/>
            <pc:sldMk cId="155678836" sldId="1522"/>
            <ac:spMk id="2" creationId="{971EFC83-31CB-A99E-0A40-4144CD7EC39C}"/>
          </ac:spMkLst>
        </pc:spChg>
      </pc:sldChg>
      <pc:sldChg chg="modSp add mod">
        <pc:chgData name="Krishna  Patel" userId="ed2200d0-4eed-40c6-ab36-78bc62005773" providerId="ADAL" clId="{E56EB9E9-1E01-4995-937D-98B474E60653}" dt="2025-06-10T09:25:52.327" v="575" actId="1036"/>
        <pc:sldMkLst>
          <pc:docMk/>
          <pc:sldMk cId="1698335145" sldId="1523"/>
        </pc:sldMkLst>
        <pc:spChg chg="mod">
          <ac:chgData name="Krishna  Patel" userId="ed2200d0-4eed-40c6-ab36-78bc62005773" providerId="ADAL" clId="{E56EB9E9-1E01-4995-937D-98B474E60653}" dt="2025-06-10T09:25:52.327" v="575" actId="1036"/>
          <ac:spMkLst>
            <pc:docMk/>
            <pc:sldMk cId="1698335145" sldId="1523"/>
            <ac:spMk id="2" creationId="{A4498E6D-9FEA-D4E0-5E59-07BE48900FF8}"/>
          </ac:spMkLst>
        </pc:spChg>
      </pc:sldChg>
      <pc:sldChg chg="modSp add mod">
        <pc:chgData name="Krishna  Patel" userId="ed2200d0-4eed-40c6-ab36-78bc62005773" providerId="ADAL" clId="{E56EB9E9-1E01-4995-937D-98B474E60653}" dt="2025-06-10T09:26:22.097" v="587" actId="113"/>
        <pc:sldMkLst>
          <pc:docMk/>
          <pc:sldMk cId="2878427153" sldId="1524"/>
        </pc:sldMkLst>
        <pc:spChg chg="mod">
          <ac:chgData name="Krishna  Patel" userId="ed2200d0-4eed-40c6-ab36-78bc62005773" providerId="ADAL" clId="{E56EB9E9-1E01-4995-937D-98B474E60653}" dt="2025-06-10T09:26:22.097" v="587" actId="113"/>
          <ac:spMkLst>
            <pc:docMk/>
            <pc:sldMk cId="2878427153" sldId="1524"/>
            <ac:spMk id="2" creationId="{E25AFA30-A3E6-1B67-6CDF-9F10AF8BEA52}"/>
          </ac:spMkLst>
        </pc:spChg>
      </pc:sldChg>
      <pc:sldChg chg="modSp add mod">
        <pc:chgData name="Krishna  Patel" userId="ed2200d0-4eed-40c6-ab36-78bc62005773" providerId="ADAL" clId="{E56EB9E9-1E01-4995-937D-98B474E60653}" dt="2025-06-10T09:26:52.165" v="599" actId="113"/>
        <pc:sldMkLst>
          <pc:docMk/>
          <pc:sldMk cId="156778809" sldId="1525"/>
        </pc:sldMkLst>
        <pc:spChg chg="mod">
          <ac:chgData name="Krishna  Patel" userId="ed2200d0-4eed-40c6-ab36-78bc62005773" providerId="ADAL" clId="{E56EB9E9-1E01-4995-937D-98B474E60653}" dt="2025-06-10T09:26:52.165" v="599" actId="113"/>
          <ac:spMkLst>
            <pc:docMk/>
            <pc:sldMk cId="156778809" sldId="1525"/>
            <ac:spMk id="2" creationId="{5E8B5A01-F7A9-7FBA-99F7-3E432AD5E5E7}"/>
          </ac:spMkLst>
        </pc:spChg>
      </pc:sldChg>
      <pc:sldChg chg="modSp add del mod">
        <pc:chgData name="Krishna  Patel" userId="ed2200d0-4eed-40c6-ab36-78bc62005773" providerId="ADAL" clId="{E56EB9E9-1E01-4995-937D-98B474E60653}" dt="2025-06-10T09:27:24.066" v="603" actId="47"/>
        <pc:sldMkLst>
          <pc:docMk/>
          <pc:sldMk cId="996988322" sldId="1526"/>
        </pc:sldMkLst>
      </pc:sldChg>
      <pc:sldMasterChg chg="modSldLayout">
        <pc:chgData name="Krishna  Patel" userId="ed2200d0-4eed-40c6-ab36-78bc62005773" providerId="ADAL" clId="{E56EB9E9-1E01-4995-937D-98B474E60653}" dt="2025-06-10T10:12:08.113" v="2034"/>
        <pc:sldMasterMkLst>
          <pc:docMk/>
          <pc:sldMasterMk cId="3152224442" sldId="2147483648"/>
        </pc:sldMasterMkLst>
        <pc:sldLayoutChg chg="addSp delSp modSp mod">
          <pc:chgData name="Krishna  Patel" userId="ed2200d0-4eed-40c6-ab36-78bc62005773" providerId="ADAL" clId="{E56EB9E9-1E01-4995-937D-98B474E60653}" dt="2025-06-10T10:12:08.113" v="2034"/>
          <pc:sldLayoutMkLst>
            <pc:docMk/>
            <pc:sldMasterMk cId="3152224442" sldId="2147483648"/>
            <pc:sldLayoutMk cId="3598736251" sldId="2147483662"/>
          </pc:sldLayoutMkLst>
          <pc:picChg chg="add mod">
            <ac:chgData name="Krishna  Patel" userId="ed2200d0-4eed-40c6-ab36-78bc62005773" providerId="ADAL" clId="{E56EB9E9-1E01-4995-937D-98B474E60653}" dt="2025-06-10T10:12:08.113" v="2034"/>
            <ac:picMkLst>
              <pc:docMk/>
              <pc:sldMasterMk cId="3152224442" sldId="2147483648"/>
              <pc:sldLayoutMk cId="3598736251" sldId="2147483662"/>
              <ac:picMk id="10" creationId="{E1A34090-CF67-8E33-C715-5398E0D78BD9}"/>
            </ac:picMkLst>
          </pc:picChg>
        </pc:sldLayoutChg>
      </pc:sldMasterChg>
    </pc:docChg>
  </pc:docChgLst>
  <pc:docChgLst>
    <pc:chgData name="Anand Singh" userId="S::anand.singh@bluedataconsulting.in::024e4842-ae34-4cb2-9023-4f477d26b9d9" providerId="AD" clId="Web-{A6CBD0BB-8BBC-6BC5-6C0B-C1454D4C8DAC}"/>
    <pc:docChg chg="modSld">
      <pc:chgData name="Anand Singh" userId="S::anand.singh@bluedataconsulting.in::024e4842-ae34-4cb2-9023-4f477d26b9d9" providerId="AD" clId="Web-{A6CBD0BB-8BBC-6BC5-6C0B-C1454D4C8DAC}" dt="2025-06-17T08:14:21.896" v="0" actId="1076"/>
      <pc:docMkLst>
        <pc:docMk/>
      </pc:docMkLst>
      <pc:sldChg chg="modSp">
        <pc:chgData name="Anand Singh" userId="S::anand.singh@bluedataconsulting.in::024e4842-ae34-4cb2-9023-4f477d26b9d9" providerId="AD" clId="Web-{A6CBD0BB-8BBC-6BC5-6C0B-C1454D4C8DAC}" dt="2025-06-17T08:14:21.896" v="0" actId="1076"/>
        <pc:sldMkLst>
          <pc:docMk/>
          <pc:sldMk cId="565224556" sldId="1510"/>
        </pc:sldMkLst>
        <pc:picChg chg="mod">
          <ac:chgData name="Anand Singh" userId="S::anand.singh@bluedataconsulting.in::024e4842-ae34-4cb2-9023-4f477d26b9d9" providerId="AD" clId="Web-{A6CBD0BB-8BBC-6BC5-6C0B-C1454D4C8DAC}" dt="2025-06-17T08:14:21.896" v="0" actId="1076"/>
          <ac:picMkLst>
            <pc:docMk/>
            <pc:sldMk cId="565224556" sldId="1510"/>
            <ac:picMk id="24" creationId="{141F0861-B168-C772-C071-026754A1B914}"/>
          </ac:picMkLst>
        </pc:picChg>
      </pc:sldChg>
    </pc:docChg>
  </pc:docChgLst>
  <pc:docChgLst>
    <pc:chgData name="Aashish Pandey" userId="S::aashish@bluedataconsulting.in::341f317d-6b43-432f-b17f-fd51a4912ac2" providerId="AD" clId="Web-{C562E28A-3B48-449A-AFEE-5DE1F19E2BC1}"/>
    <pc:docChg chg="modSld">
      <pc:chgData name="Aashish Pandey" userId="S::aashish@bluedataconsulting.in::341f317d-6b43-432f-b17f-fd51a4912ac2" providerId="AD" clId="Web-{C562E28A-3B48-449A-AFEE-5DE1F19E2BC1}" dt="2025-06-13T16:39:53.198" v="14" actId="20577"/>
      <pc:docMkLst>
        <pc:docMk/>
      </pc:docMkLst>
      <pc:sldChg chg="modSp">
        <pc:chgData name="Aashish Pandey" userId="S::aashish@bluedataconsulting.in::341f317d-6b43-432f-b17f-fd51a4912ac2" providerId="AD" clId="Web-{C562E28A-3B48-449A-AFEE-5DE1F19E2BC1}" dt="2025-06-13T16:36:37.175" v="6" actId="20577"/>
        <pc:sldMkLst>
          <pc:docMk/>
          <pc:sldMk cId="2837506100" sldId="1532"/>
        </pc:sldMkLst>
        <pc:spChg chg="mod">
          <ac:chgData name="Aashish Pandey" userId="S::aashish@bluedataconsulting.in::341f317d-6b43-432f-b17f-fd51a4912ac2" providerId="AD" clId="Web-{C562E28A-3B48-449A-AFEE-5DE1F19E2BC1}" dt="2025-06-13T16:36:37.175" v="6" actId="20577"/>
          <ac:spMkLst>
            <pc:docMk/>
            <pc:sldMk cId="2837506100" sldId="1532"/>
            <ac:spMk id="24" creationId="{837DD541-D3DB-4C96-7298-3B49011D8701}"/>
          </ac:spMkLst>
        </pc:spChg>
      </pc:sldChg>
      <pc:sldChg chg="modSp">
        <pc:chgData name="Aashish Pandey" userId="S::aashish@bluedataconsulting.in::341f317d-6b43-432f-b17f-fd51a4912ac2" providerId="AD" clId="Web-{C562E28A-3B48-449A-AFEE-5DE1F19E2BC1}" dt="2025-06-13T16:39:53.198" v="14" actId="20577"/>
        <pc:sldMkLst>
          <pc:docMk/>
          <pc:sldMk cId="3814979771" sldId="1536"/>
        </pc:sldMkLst>
        <pc:spChg chg="mod">
          <ac:chgData name="Aashish Pandey" userId="S::aashish@bluedataconsulting.in::341f317d-6b43-432f-b17f-fd51a4912ac2" providerId="AD" clId="Web-{C562E28A-3B48-449A-AFEE-5DE1F19E2BC1}" dt="2025-06-13T16:39:53.198" v="14" actId="20577"/>
          <ac:spMkLst>
            <pc:docMk/>
            <pc:sldMk cId="3814979771" sldId="1536"/>
            <ac:spMk id="5" creationId="{5C60A91E-616E-4368-9DFE-5758186FB9BF}"/>
          </ac:spMkLst>
        </pc:spChg>
      </pc:sldChg>
      <pc:sldChg chg="modSp">
        <pc:chgData name="Aashish Pandey" userId="S::aashish@bluedataconsulting.in::341f317d-6b43-432f-b17f-fd51a4912ac2" providerId="AD" clId="Web-{C562E28A-3B48-449A-AFEE-5DE1F19E2BC1}" dt="2025-06-13T16:35:53.892" v="4" actId="20577"/>
        <pc:sldMkLst>
          <pc:docMk/>
          <pc:sldMk cId="3029737752" sldId="1541"/>
        </pc:sldMkLst>
        <pc:spChg chg="mod">
          <ac:chgData name="Aashish Pandey" userId="S::aashish@bluedataconsulting.in::341f317d-6b43-432f-b17f-fd51a4912ac2" providerId="AD" clId="Web-{C562E28A-3B48-449A-AFEE-5DE1F19E2BC1}" dt="2025-06-13T16:35:53.892" v="4" actId="20577"/>
          <ac:spMkLst>
            <pc:docMk/>
            <pc:sldMk cId="3029737752" sldId="1541"/>
            <ac:spMk id="3" creationId="{AF85F613-697C-ADF1-71A9-7D4A5FD311E0}"/>
          </ac:spMkLst>
        </pc:spChg>
      </pc:sldChg>
      <pc:sldChg chg="modSp">
        <pc:chgData name="Aashish Pandey" userId="S::aashish@bluedataconsulting.in::341f317d-6b43-432f-b17f-fd51a4912ac2" providerId="AD" clId="Web-{C562E28A-3B48-449A-AFEE-5DE1F19E2BC1}" dt="2025-06-13T16:35:36.642" v="1" actId="20577"/>
        <pc:sldMkLst>
          <pc:docMk/>
          <pc:sldMk cId="1744534717" sldId="1542"/>
        </pc:sldMkLst>
        <pc:spChg chg="mod">
          <ac:chgData name="Aashish Pandey" userId="S::aashish@bluedataconsulting.in::341f317d-6b43-432f-b17f-fd51a4912ac2" providerId="AD" clId="Web-{C562E28A-3B48-449A-AFEE-5DE1F19E2BC1}" dt="2025-06-13T16:35:36.642" v="1" actId="20577"/>
          <ac:spMkLst>
            <pc:docMk/>
            <pc:sldMk cId="1744534717" sldId="1542"/>
            <ac:spMk id="5" creationId="{76CCEBB1-F992-7C38-009E-153B6AB698BF}"/>
          </ac:spMkLst>
        </pc:spChg>
      </pc:sldChg>
      <pc:sldChg chg="modSp">
        <pc:chgData name="Aashish Pandey" userId="S::aashish@bluedataconsulting.in::341f317d-6b43-432f-b17f-fd51a4912ac2" providerId="AD" clId="Web-{C562E28A-3B48-449A-AFEE-5DE1F19E2BC1}" dt="2025-06-13T16:39:41.698" v="11" actId="14100"/>
        <pc:sldMkLst>
          <pc:docMk/>
          <pc:sldMk cId="642286714" sldId="1549"/>
        </pc:sldMkLst>
        <pc:picChg chg="mod">
          <ac:chgData name="Aashish Pandey" userId="S::aashish@bluedataconsulting.in::341f317d-6b43-432f-b17f-fd51a4912ac2" providerId="AD" clId="Web-{C562E28A-3B48-449A-AFEE-5DE1F19E2BC1}" dt="2025-06-13T16:39:41.698" v="11" actId="14100"/>
          <ac:picMkLst>
            <pc:docMk/>
            <pc:sldMk cId="642286714" sldId="1549"/>
            <ac:picMk id="6" creationId="{A62A2E9E-3605-19A2-EED4-704FA219E1A8}"/>
          </ac:picMkLst>
        </pc:picChg>
      </pc:sldChg>
    </pc:docChg>
  </pc:docChgLst>
  <pc:docChgLst>
    <pc:chgData name="Krishna Sharma" userId="S::krishna.sharma@bluedataconsulting.in::daa697d5-8440-4694-9c7d-792884c08b9c" providerId="AD" clId="Web-{40372E09-C640-8AA1-FA3E-3EB6520DA689}"/>
    <pc:docChg chg="modSld">
      <pc:chgData name="Krishna Sharma" userId="S::krishna.sharma@bluedataconsulting.in::daa697d5-8440-4694-9c7d-792884c08b9c" providerId="AD" clId="Web-{40372E09-C640-8AA1-FA3E-3EB6520DA689}" dt="2025-06-13T11:04:18.793" v="261" actId="14100"/>
      <pc:docMkLst>
        <pc:docMk/>
      </pc:docMkLst>
      <pc:sldChg chg="addSp delSp modSp">
        <pc:chgData name="Krishna Sharma" userId="S::krishna.sharma@bluedataconsulting.in::daa697d5-8440-4694-9c7d-792884c08b9c" providerId="AD" clId="Web-{40372E09-C640-8AA1-FA3E-3EB6520DA689}" dt="2025-06-13T09:46:35.133" v="35"/>
        <pc:sldMkLst>
          <pc:docMk/>
          <pc:sldMk cId="1966804136" sldId="1368"/>
        </pc:sldMkLst>
      </pc:sldChg>
      <pc:sldChg chg="addSp delSp modSp">
        <pc:chgData name="Krishna Sharma" userId="S::krishna.sharma@bluedataconsulting.in::daa697d5-8440-4694-9c7d-792884c08b9c" providerId="AD" clId="Web-{40372E09-C640-8AA1-FA3E-3EB6520DA689}" dt="2025-06-13T10:40:36.777" v="206" actId="1076"/>
        <pc:sldMkLst>
          <pc:docMk/>
          <pc:sldMk cId="130700123" sldId="1369"/>
        </pc:sldMkLst>
        <pc:spChg chg="mod">
          <ac:chgData name="Krishna Sharma" userId="S::krishna.sharma@bluedataconsulting.in::daa697d5-8440-4694-9c7d-792884c08b9c" providerId="AD" clId="Web-{40372E09-C640-8AA1-FA3E-3EB6520DA689}" dt="2025-06-13T10:40:36.777" v="206" actId="1076"/>
          <ac:spMkLst>
            <pc:docMk/>
            <pc:sldMk cId="130700123" sldId="1369"/>
            <ac:spMk id="27" creationId="{B7E81F99-BB58-8C9E-ED27-EB094D64C91C}"/>
          </ac:spMkLst>
        </pc:spChg>
        <pc:picChg chg="add mod">
          <ac:chgData name="Krishna Sharma" userId="S::krishna.sharma@bluedataconsulting.in::daa697d5-8440-4694-9c7d-792884c08b9c" providerId="AD" clId="Web-{40372E09-C640-8AA1-FA3E-3EB6520DA689}" dt="2025-06-13T09:29:04.872" v="6" actId="1076"/>
          <ac:picMkLst>
            <pc:docMk/>
            <pc:sldMk cId="130700123" sldId="1369"/>
            <ac:picMk id="5" creationId="{2189E75C-4CD2-6E90-5E36-AEB9D3507874}"/>
          </ac:picMkLst>
        </pc:picChg>
      </pc:sldChg>
      <pc:sldChg chg="addSp delSp modSp">
        <pc:chgData name="Krishna Sharma" userId="S::krishna.sharma@bluedataconsulting.in::daa697d5-8440-4694-9c7d-792884c08b9c" providerId="AD" clId="Web-{40372E09-C640-8AA1-FA3E-3EB6520DA689}" dt="2025-06-13T09:49:23.932" v="40" actId="1076"/>
        <pc:sldMkLst>
          <pc:docMk/>
          <pc:sldMk cId="1056810274" sldId="1370"/>
        </pc:sldMkLst>
        <pc:picChg chg="add mod">
          <ac:chgData name="Krishna Sharma" userId="S::krishna.sharma@bluedataconsulting.in::daa697d5-8440-4694-9c7d-792884c08b9c" providerId="AD" clId="Web-{40372E09-C640-8AA1-FA3E-3EB6520DA689}" dt="2025-06-13T09:49:23.932" v="40" actId="1076"/>
          <ac:picMkLst>
            <pc:docMk/>
            <pc:sldMk cId="1056810274" sldId="1370"/>
            <ac:picMk id="3" creationId="{60E7967C-FD6B-C96A-D623-E30087D98CF8}"/>
          </ac:picMkLst>
        </pc:picChg>
      </pc:sldChg>
      <pc:sldChg chg="delSp">
        <pc:chgData name="Krishna Sharma" userId="S::krishna.sharma@bluedataconsulting.in::daa697d5-8440-4694-9c7d-792884c08b9c" providerId="AD" clId="Web-{40372E09-C640-8AA1-FA3E-3EB6520DA689}" dt="2025-06-13T10:00:03.595" v="47"/>
        <pc:sldMkLst>
          <pc:docMk/>
          <pc:sldMk cId="2865006180" sldId="1371"/>
        </pc:sldMkLst>
      </pc:sldChg>
      <pc:sldChg chg="addSp delSp modSp">
        <pc:chgData name="Krishna Sharma" userId="S::krishna.sharma@bluedataconsulting.in::daa697d5-8440-4694-9c7d-792884c08b9c" providerId="AD" clId="Web-{40372E09-C640-8AA1-FA3E-3EB6520DA689}" dt="2025-06-13T10:17:19.528" v="53" actId="1076"/>
        <pc:sldMkLst>
          <pc:docMk/>
          <pc:sldMk cId="2954267522" sldId="1372"/>
        </pc:sldMkLst>
        <pc:picChg chg="add mod">
          <ac:chgData name="Krishna Sharma" userId="S::krishna.sharma@bluedataconsulting.in::daa697d5-8440-4694-9c7d-792884c08b9c" providerId="AD" clId="Web-{40372E09-C640-8AA1-FA3E-3EB6520DA689}" dt="2025-06-13T10:17:19.528" v="53" actId="1076"/>
          <ac:picMkLst>
            <pc:docMk/>
            <pc:sldMk cId="2954267522" sldId="1372"/>
            <ac:picMk id="5" creationId="{964712F6-B87E-9477-F428-E4EC9AE0491B}"/>
          </ac:picMkLst>
        </pc:picChg>
      </pc:sldChg>
      <pc:sldChg chg="modSp">
        <pc:chgData name="Krishna Sharma" userId="S::krishna.sharma@bluedataconsulting.in::daa697d5-8440-4694-9c7d-792884c08b9c" providerId="AD" clId="Web-{40372E09-C640-8AA1-FA3E-3EB6520DA689}" dt="2025-06-13T09:58:30.156" v="42" actId="1076"/>
        <pc:sldMkLst>
          <pc:docMk/>
          <pc:sldMk cId="2044274387" sldId="1374"/>
        </pc:sldMkLst>
        <pc:spChg chg="mod">
          <ac:chgData name="Krishna Sharma" userId="S::krishna.sharma@bluedataconsulting.in::daa697d5-8440-4694-9c7d-792884c08b9c" providerId="AD" clId="Web-{40372E09-C640-8AA1-FA3E-3EB6520DA689}" dt="2025-06-13T09:58:30.156" v="42" actId="1076"/>
          <ac:spMkLst>
            <pc:docMk/>
            <pc:sldMk cId="2044274387" sldId="1374"/>
            <ac:spMk id="4" creationId="{DD9ED718-DBF7-DCD7-CCE0-2689B9D0D5A1}"/>
          </ac:spMkLst>
        </pc:spChg>
      </pc:sldChg>
      <pc:sldChg chg="addSp delSp modSp">
        <pc:chgData name="Krishna Sharma" userId="S::krishna.sharma@bluedataconsulting.in::daa697d5-8440-4694-9c7d-792884c08b9c" providerId="AD" clId="Web-{40372E09-C640-8AA1-FA3E-3EB6520DA689}" dt="2025-06-13T09:31:27.936" v="14" actId="14100"/>
        <pc:sldMkLst>
          <pc:docMk/>
          <pc:sldMk cId="1609862685" sldId="1400"/>
        </pc:sldMkLst>
        <pc:picChg chg="add mod">
          <ac:chgData name="Krishna Sharma" userId="S::krishna.sharma@bluedataconsulting.in::daa697d5-8440-4694-9c7d-792884c08b9c" providerId="AD" clId="Web-{40372E09-C640-8AA1-FA3E-3EB6520DA689}" dt="2025-06-13T09:31:27.936" v="14" actId="14100"/>
          <ac:picMkLst>
            <pc:docMk/>
            <pc:sldMk cId="1609862685" sldId="1400"/>
            <ac:picMk id="6" creationId="{FA503CCE-F958-5D02-9EC6-AE2B36F34918}"/>
          </ac:picMkLst>
        </pc:picChg>
      </pc:sldChg>
      <pc:sldChg chg="delSp modSp">
        <pc:chgData name="Krishna Sharma" userId="S::krishna.sharma@bluedataconsulting.in::daa697d5-8440-4694-9c7d-792884c08b9c" providerId="AD" clId="Web-{40372E09-C640-8AA1-FA3E-3EB6520DA689}" dt="2025-06-13T10:32:46.179" v="145" actId="1076"/>
        <pc:sldMkLst>
          <pc:docMk/>
          <pc:sldMk cId="1514397412" sldId="1401"/>
        </pc:sldMkLst>
        <pc:spChg chg="mod">
          <ac:chgData name="Krishna Sharma" userId="S::krishna.sharma@bluedataconsulting.in::daa697d5-8440-4694-9c7d-792884c08b9c" providerId="AD" clId="Web-{40372E09-C640-8AA1-FA3E-3EB6520DA689}" dt="2025-06-13T10:32:46.116" v="140" actId="1076"/>
          <ac:spMkLst>
            <pc:docMk/>
            <pc:sldMk cId="1514397412" sldId="1401"/>
            <ac:spMk id="11" creationId="{04D03ABC-F0B9-50D5-D302-8226963A5085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32:46.163" v="143" actId="1076"/>
          <ac:spMkLst>
            <pc:docMk/>
            <pc:sldMk cId="1514397412" sldId="1401"/>
            <ac:spMk id="22" creationId="{99331468-730A-2E0F-1ECC-21C086B38101}"/>
          </ac:spMkLst>
        </pc:spChg>
      </pc:sldChg>
      <pc:sldChg chg="delSp">
        <pc:chgData name="Krishna Sharma" userId="S::krishna.sharma@bluedataconsulting.in::daa697d5-8440-4694-9c7d-792884c08b9c" providerId="AD" clId="Web-{40372E09-C640-8AA1-FA3E-3EB6520DA689}" dt="2025-06-13T10:30:48.927" v="116"/>
        <pc:sldMkLst>
          <pc:docMk/>
          <pc:sldMk cId="1618323921" sldId="1405"/>
        </pc:sldMkLst>
      </pc:sldChg>
      <pc:sldChg chg="addSp delSp modSp">
        <pc:chgData name="Krishna Sharma" userId="S::krishna.sharma@bluedataconsulting.in::daa697d5-8440-4694-9c7d-792884c08b9c" providerId="AD" clId="Web-{40372E09-C640-8AA1-FA3E-3EB6520DA689}" dt="2025-06-13T10:28:07.801" v="110" actId="1076"/>
        <pc:sldMkLst>
          <pc:docMk/>
          <pc:sldMk cId="767093200" sldId="1406"/>
        </pc:sldMkLst>
        <pc:spChg chg="mod">
          <ac:chgData name="Krishna Sharma" userId="S::krishna.sharma@bluedataconsulting.in::daa697d5-8440-4694-9c7d-792884c08b9c" providerId="AD" clId="Web-{40372E09-C640-8AA1-FA3E-3EB6520DA689}" dt="2025-06-13T10:26:49.597" v="95" actId="14100"/>
          <ac:spMkLst>
            <pc:docMk/>
            <pc:sldMk cId="767093200" sldId="1406"/>
            <ac:spMk id="8" creationId="{DA9D6749-8980-B90D-0A9C-0B22CB2D0AFD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26:23.612" v="88" actId="1076"/>
          <ac:spMkLst>
            <pc:docMk/>
            <pc:sldMk cId="767093200" sldId="1406"/>
            <ac:spMk id="10" creationId="{18B2C4D6-10A8-8CBA-0668-24A72CF8A4EA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26:22.674" v="87" actId="1076"/>
          <ac:spMkLst>
            <pc:docMk/>
            <pc:sldMk cId="767093200" sldId="1406"/>
            <ac:spMk id="13" creationId="{54256C06-76AB-99DB-23C8-1673B56A1B13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27:10.722" v="98" actId="1076"/>
          <ac:spMkLst>
            <pc:docMk/>
            <pc:sldMk cId="767093200" sldId="1406"/>
            <ac:spMk id="14" creationId="{7CC4F909-B328-F1EB-2667-1CC0AD1A637A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26:43.831" v="93" actId="1076"/>
          <ac:spMkLst>
            <pc:docMk/>
            <pc:sldMk cId="767093200" sldId="1406"/>
            <ac:spMk id="16" creationId="{2B68722F-8ECC-B75F-9B8D-8C7702B6FECC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26:43.847" v="94" actId="1076"/>
          <ac:spMkLst>
            <pc:docMk/>
            <pc:sldMk cId="767093200" sldId="1406"/>
            <ac:spMk id="17" creationId="{2DCEBCD8-1526-3ED3-E82A-26AFB5B5D5D6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23:44.188" v="54" actId="14100"/>
          <ac:spMkLst>
            <pc:docMk/>
            <pc:sldMk cId="767093200" sldId="1406"/>
            <ac:spMk id="18" creationId="{BC482D51-05BA-44EA-648D-7CA7578882B7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23:53.063" v="55" actId="14100"/>
          <ac:spMkLst>
            <pc:docMk/>
            <pc:sldMk cId="767093200" sldId="1406"/>
            <ac:spMk id="21" creationId="{6E4BED46-8B22-8874-11A8-9097D4D68640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27:35.269" v="107" actId="1076"/>
          <ac:spMkLst>
            <pc:docMk/>
            <pc:sldMk cId="767093200" sldId="1406"/>
            <ac:spMk id="36" creationId="{187B4653-3971-A029-2D76-09528D3EA77E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28:07.801" v="110" actId="1076"/>
          <ac:spMkLst>
            <pc:docMk/>
            <pc:sldMk cId="767093200" sldId="1406"/>
            <ac:spMk id="38" creationId="{BAFA2A79-558F-5B7E-3497-3D35C601E580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27:28.675" v="106" actId="1076"/>
          <ac:spMkLst>
            <pc:docMk/>
            <pc:sldMk cId="767093200" sldId="1406"/>
            <ac:spMk id="39" creationId="{75578027-6CBE-CFC6-1CFD-B7A703471D9E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28:00.332" v="109" actId="1076"/>
          <ac:spMkLst>
            <pc:docMk/>
            <pc:sldMk cId="767093200" sldId="1406"/>
            <ac:spMk id="41" creationId="{BAACA959-DE88-9AFC-A9DF-95C346E3CF47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24:50.955" v="66" actId="1076"/>
          <ac:spMkLst>
            <pc:docMk/>
            <pc:sldMk cId="767093200" sldId="1406"/>
            <ac:spMk id="42" creationId="{DD33F67C-1BE3-03BD-08B2-AA1531ED4602}"/>
          </ac:spMkLst>
        </pc:spChg>
      </pc:sldChg>
      <pc:sldChg chg="delSp modSp">
        <pc:chgData name="Krishna Sharma" userId="S::krishna.sharma@bluedataconsulting.in::daa697d5-8440-4694-9c7d-792884c08b9c" providerId="AD" clId="Web-{40372E09-C640-8AA1-FA3E-3EB6520DA689}" dt="2025-06-13T10:31:52.100" v="127" actId="1076"/>
        <pc:sldMkLst>
          <pc:docMk/>
          <pc:sldMk cId="4031355153" sldId="1407"/>
        </pc:sldMkLst>
        <pc:spChg chg="mod">
          <ac:chgData name="Krishna Sharma" userId="S::krishna.sharma@bluedataconsulting.in::daa697d5-8440-4694-9c7d-792884c08b9c" providerId="AD" clId="Web-{40372E09-C640-8AA1-FA3E-3EB6520DA689}" dt="2025-06-13T10:31:20.850" v="123" actId="1076"/>
          <ac:spMkLst>
            <pc:docMk/>
            <pc:sldMk cId="4031355153" sldId="1407"/>
            <ac:spMk id="15" creationId="{88CC4477-9CB7-1C86-A317-A794A031ABA5}"/>
          </ac:spMkLst>
        </pc:spChg>
        <pc:spChg chg="mod">
          <ac:chgData name="Krishna Sharma" userId="S::krishna.sharma@bluedataconsulting.in::daa697d5-8440-4694-9c7d-792884c08b9c" providerId="AD" clId="Web-{40372E09-C640-8AA1-FA3E-3EB6520DA689}" dt="2025-06-13T10:31:52.100" v="127" actId="1076"/>
          <ac:spMkLst>
            <pc:docMk/>
            <pc:sldMk cId="4031355153" sldId="1407"/>
            <ac:spMk id="16" creationId="{3BF03EF1-7B18-8011-DEF6-B40E5EDC4448}"/>
          </ac:spMkLst>
        </pc:spChg>
      </pc:sldChg>
      <pc:sldChg chg="delSp modSp">
        <pc:chgData name="Krishna Sharma" userId="S::krishna.sharma@bluedataconsulting.in::daa697d5-8440-4694-9c7d-792884c08b9c" providerId="AD" clId="Web-{40372E09-C640-8AA1-FA3E-3EB6520DA689}" dt="2025-06-13T10:36:49.728" v="161" actId="1076"/>
        <pc:sldMkLst>
          <pc:docMk/>
          <pc:sldMk cId="1158807392" sldId="1493"/>
        </pc:sldMkLst>
        <pc:spChg chg="mod">
          <ac:chgData name="Krishna Sharma" userId="S::krishna.sharma@bluedataconsulting.in::daa697d5-8440-4694-9c7d-792884c08b9c" providerId="AD" clId="Web-{40372E09-C640-8AA1-FA3E-3EB6520DA689}" dt="2025-06-13T10:36:49.728" v="161" actId="1076"/>
          <ac:spMkLst>
            <pc:docMk/>
            <pc:sldMk cId="1158807392" sldId="1493"/>
            <ac:spMk id="6" creationId="{3C5589BF-BA0B-1508-7CF6-12995291A67B}"/>
          </ac:spMkLst>
        </pc:spChg>
      </pc:sldChg>
      <pc:sldChg chg="delSp modSp">
        <pc:chgData name="Krishna Sharma" userId="S::krishna.sharma@bluedataconsulting.in::daa697d5-8440-4694-9c7d-792884c08b9c" providerId="AD" clId="Web-{40372E09-C640-8AA1-FA3E-3EB6520DA689}" dt="2025-06-13T10:38:26.885" v="187" actId="1076"/>
        <pc:sldMkLst>
          <pc:docMk/>
          <pc:sldMk cId="1130605282" sldId="1495"/>
        </pc:sldMkLst>
        <pc:spChg chg="mod">
          <ac:chgData name="Krishna Sharma" userId="S::krishna.sharma@bluedataconsulting.in::daa697d5-8440-4694-9c7d-792884c08b9c" providerId="AD" clId="Web-{40372E09-C640-8AA1-FA3E-3EB6520DA689}" dt="2025-06-13T10:38:26.885" v="187" actId="1076"/>
          <ac:spMkLst>
            <pc:docMk/>
            <pc:sldMk cId="1130605282" sldId="1495"/>
            <ac:spMk id="6" creationId="{5EF836A1-0AA6-6299-7E5B-B7E74D3BD900}"/>
          </ac:spMkLst>
        </pc:spChg>
      </pc:sldChg>
      <pc:sldChg chg="delSp modSp">
        <pc:chgData name="Krishna Sharma" userId="S::krishna.sharma@bluedataconsulting.in::daa697d5-8440-4694-9c7d-792884c08b9c" providerId="AD" clId="Web-{40372E09-C640-8AA1-FA3E-3EB6520DA689}" dt="2025-06-13T10:39:14.636" v="197" actId="14100"/>
        <pc:sldMkLst>
          <pc:docMk/>
          <pc:sldMk cId="1523651696" sldId="1496"/>
        </pc:sldMkLst>
      </pc:sldChg>
      <pc:sldChg chg="delSp modSp">
        <pc:chgData name="Krishna Sharma" userId="S::krishna.sharma@bluedataconsulting.in::daa697d5-8440-4694-9c7d-792884c08b9c" providerId="AD" clId="Web-{40372E09-C640-8AA1-FA3E-3EB6520DA689}" dt="2025-06-13T10:37:21.494" v="168" actId="20577"/>
        <pc:sldMkLst>
          <pc:docMk/>
          <pc:sldMk cId="2417004778" sldId="1498"/>
        </pc:sldMkLst>
        <pc:spChg chg="mod">
          <ac:chgData name="Krishna Sharma" userId="S::krishna.sharma@bluedataconsulting.in::daa697d5-8440-4694-9c7d-792884c08b9c" providerId="AD" clId="Web-{40372E09-C640-8AA1-FA3E-3EB6520DA689}" dt="2025-06-13T10:37:21.494" v="168" actId="20577"/>
          <ac:spMkLst>
            <pc:docMk/>
            <pc:sldMk cId="2417004778" sldId="1498"/>
            <ac:spMk id="6" creationId="{29A99055-28EB-EE49-3710-66FA4C49B1DF}"/>
          </ac:spMkLst>
        </pc:spChg>
      </pc:sldChg>
      <pc:sldChg chg="delSp modSp">
        <pc:chgData name="Krishna Sharma" userId="S::krishna.sharma@bluedataconsulting.in::daa697d5-8440-4694-9c7d-792884c08b9c" providerId="AD" clId="Web-{40372E09-C640-8AA1-FA3E-3EB6520DA689}" dt="2025-06-13T10:35:54.884" v="154" actId="14100"/>
        <pc:sldMkLst>
          <pc:docMk/>
          <pc:sldMk cId="88185852" sldId="1499"/>
        </pc:sldMkLst>
        <pc:spChg chg="mod">
          <ac:chgData name="Krishna Sharma" userId="S::krishna.sharma@bluedataconsulting.in::daa697d5-8440-4694-9c7d-792884c08b9c" providerId="AD" clId="Web-{40372E09-C640-8AA1-FA3E-3EB6520DA689}" dt="2025-06-13T10:35:54.884" v="154" actId="14100"/>
          <ac:spMkLst>
            <pc:docMk/>
            <pc:sldMk cId="88185852" sldId="1499"/>
            <ac:spMk id="6" creationId="{94A61F51-0B5B-84EF-348B-090A07A3937C}"/>
          </ac:spMkLst>
        </pc:spChg>
      </pc:sldChg>
      <pc:sldChg chg="modSp">
        <pc:chgData name="Krishna Sharma" userId="S::krishna.sharma@bluedataconsulting.in::daa697d5-8440-4694-9c7d-792884c08b9c" providerId="AD" clId="Web-{40372E09-C640-8AA1-FA3E-3EB6520DA689}" dt="2025-06-13T10:59:59.618" v="210" actId="1076"/>
        <pc:sldMkLst>
          <pc:docMk/>
          <pc:sldMk cId="3432880316" sldId="1502"/>
        </pc:sldMkLst>
        <pc:spChg chg="mod">
          <ac:chgData name="Krishna Sharma" userId="S::krishna.sharma@bluedataconsulting.in::daa697d5-8440-4694-9c7d-792884c08b9c" providerId="AD" clId="Web-{40372E09-C640-8AA1-FA3E-3EB6520DA689}" dt="2025-06-13T10:59:59.618" v="210" actId="1076"/>
          <ac:spMkLst>
            <pc:docMk/>
            <pc:sldMk cId="3432880316" sldId="1502"/>
            <ac:spMk id="9" creationId="{F33B87E6-563E-03A2-292F-D265FB36DB8F}"/>
          </ac:spMkLst>
        </pc:spChg>
      </pc:sldChg>
      <pc:sldChg chg="modSp">
        <pc:chgData name="Krishna Sharma" userId="S::krishna.sharma@bluedataconsulting.in::daa697d5-8440-4694-9c7d-792884c08b9c" providerId="AD" clId="Web-{40372E09-C640-8AA1-FA3E-3EB6520DA689}" dt="2025-06-13T10:45:33.984" v="208"/>
        <pc:sldMkLst>
          <pc:docMk/>
          <pc:sldMk cId="3370607659" sldId="1504"/>
        </pc:sldMkLst>
        <pc:graphicFrameChg chg="modGraphic">
          <ac:chgData name="Krishna Sharma" userId="S::krishna.sharma@bluedataconsulting.in::daa697d5-8440-4694-9c7d-792884c08b9c" providerId="AD" clId="Web-{40372E09-C640-8AA1-FA3E-3EB6520DA689}" dt="2025-06-13T10:45:33.984" v="208"/>
          <ac:graphicFrameMkLst>
            <pc:docMk/>
            <pc:sldMk cId="3370607659" sldId="1504"/>
            <ac:graphicFrameMk id="4" creationId="{46EF9EF4-6CE7-D863-FAE1-5F1008A6A553}"/>
          </ac:graphicFrameMkLst>
        </pc:graphicFrameChg>
      </pc:sldChg>
      <pc:sldChg chg="delSp">
        <pc:chgData name="Krishna Sharma" userId="S::krishna.sharma@bluedataconsulting.in::daa697d5-8440-4694-9c7d-792884c08b9c" providerId="AD" clId="Web-{40372E09-C640-8AA1-FA3E-3EB6520DA689}" dt="2025-06-13T10:00:03.548" v="44"/>
        <pc:sldMkLst>
          <pc:docMk/>
          <pc:sldMk cId="2490475139" sldId="1505"/>
        </pc:sldMkLst>
      </pc:sldChg>
      <pc:sldChg chg="addSp delSp modSp">
        <pc:chgData name="Krishna Sharma" userId="S::krishna.sharma@bluedataconsulting.in::daa697d5-8440-4694-9c7d-792884c08b9c" providerId="AD" clId="Web-{40372E09-C640-8AA1-FA3E-3EB6520DA689}" dt="2025-06-13T11:04:18.793" v="261" actId="14100"/>
        <pc:sldMkLst>
          <pc:docMk/>
          <pc:sldMk cId="3142948251" sldId="1509"/>
        </pc:sldMkLst>
        <pc:spChg chg="add mod">
          <ac:chgData name="Krishna Sharma" userId="S::krishna.sharma@bluedataconsulting.in::daa697d5-8440-4694-9c7d-792884c08b9c" providerId="AD" clId="Web-{40372E09-C640-8AA1-FA3E-3EB6520DA689}" dt="2025-06-13T11:04:05.886" v="260" actId="20577"/>
          <ac:spMkLst>
            <pc:docMk/>
            <pc:sldMk cId="3142948251" sldId="1509"/>
            <ac:spMk id="5" creationId="{977A20C0-DEB3-9ABD-6776-B04494994061}"/>
          </ac:spMkLst>
        </pc:spChg>
      </pc:sldChg>
    </pc:docChg>
  </pc:docChgLst>
  <pc:docChgLst>
    <pc:chgData name="Krishna  Patel" userId="ed2200d0-4eed-40c6-ab36-78bc62005773" providerId="ADAL" clId="{7B184F28-718E-4974-B93F-601DFC94A538}"/>
    <pc:docChg chg="undo custSel addSld delSld modSld sldOrd modSection">
      <pc:chgData name="Krishna  Patel" userId="ed2200d0-4eed-40c6-ab36-78bc62005773" providerId="ADAL" clId="{7B184F28-718E-4974-B93F-601DFC94A538}" dt="2025-06-13T13:55:09.101" v="2311" actId="47"/>
      <pc:docMkLst>
        <pc:docMk/>
      </pc:docMkLst>
      <pc:sldChg chg="modSp mod">
        <pc:chgData name="Krishna  Patel" userId="ed2200d0-4eed-40c6-ab36-78bc62005773" providerId="ADAL" clId="{7B184F28-718E-4974-B93F-601DFC94A538}" dt="2025-06-13T10:46:08.110" v="457" actId="1076"/>
        <pc:sldMkLst>
          <pc:docMk/>
          <pc:sldMk cId="4153874486" sldId="1305"/>
        </pc:sldMkLst>
      </pc:sldChg>
      <pc:sldChg chg="del">
        <pc:chgData name="Krishna  Patel" userId="ed2200d0-4eed-40c6-ab36-78bc62005773" providerId="ADAL" clId="{7B184F28-718E-4974-B93F-601DFC94A538}" dt="2025-06-13T13:55:09.101" v="2311" actId="47"/>
        <pc:sldMkLst>
          <pc:docMk/>
          <pc:sldMk cId="2735238787" sldId="1306"/>
        </pc:sldMkLst>
      </pc:sldChg>
      <pc:sldChg chg="modSp mod">
        <pc:chgData name="Krishna  Patel" userId="ed2200d0-4eed-40c6-ab36-78bc62005773" providerId="ADAL" clId="{7B184F28-718E-4974-B93F-601DFC94A538}" dt="2025-06-13T13:51:16.261" v="2278" actId="1076"/>
        <pc:sldMkLst>
          <pc:docMk/>
          <pc:sldMk cId="4045290397" sldId="1320"/>
        </pc:sldMkLst>
        <pc:spChg chg="mod">
          <ac:chgData name="Krishna  Patel" userId="ed2200d0-4eed-40c6-ab36-78bc62005773" providerId="ADAL" clId="{7B184F28-718E-4974-B93F-601DFC94A538}" dt="2025-06-13T13:50:10.526" v="2270" actId="120"/>
          <ac:spMkLst>
            <pc:docMk/>
            <pc:sldMk cId="4045290397" sldId="1320"/>
            <ac:spMk id="6" creationId="{EB864A49-46D5-7748-88F5-D8741908FE28}"/>
          </ac:spMkLst>
        </pc:spChg>
        <pc:spChg chg="mod">
          <ac:chgData name="Krishna  Patel" userId="ed2200d0-4eed-40c6-ab36-78bc62005773" providerId="ADAL" clId="{7B184F28-718E-4974-B93F-601DFC94A538}" dt="2025-06-13T13:50:22.301" v="2272" actId="120"/>
          <ac:spMkLst>
            <pc:docMk/>
            <pc:sldMk cId="4045290397" sldId="1320"/>
            <ac:spMk id="9" creationId="{51FCEE17-6BEF-13D7-29D6-82EE84F4ED36}"/>
          </ac:spMkLst>
        </pc:spChg>
        <pc:spChg chg="mod">
          <ac:chgData name="Krishna  Patel" userId="ed2200d0-4eed-40c6-ab36-78bc62005773" providerId="ADAL" clId="{7B184F28-718E-4974-B93F-601DFC94A538}" dt="2025-06-13T13:50:22.301" v="2272" actId="120"/>
          <ac:spMkLst>
            <pc:docMk/>
            <pc:sldMk cId="4045290397" sldId="1320"/>
            <ac:spMk id="11" creationId="{3A3D4AD9-75BF-4DB6-DD07-4D9B92500C24}"/>
          </ac:spMkLst>
        </pc:spChg>
        <pc:spChg chg="mod">
          <ac:chgData name="Krishna  Patel" userId="ed2200d0-4eed-40c6-ab36-78bc62005773" providerId="ADAL" clId="{7B184F28-718E-4974-B93F-601DFC94A538}" dt="2025-06-13T13:43:08.114" v="2217" actId="403"/>
          <ac:spMkLst>
            <pc:docMk/>
            <pc:sldMk cId="4045290397" sldId="1320"/>
            <ac:spMk id="12" creationId="{E829017D-C809-2B30-3F16-FC389959C2CE}"/>
          </ac:spMkLst>
        </pc:spChg>
        <pc:spChg chg="mod">
          <ac:chgData name="Krishna  Patel" userId="ed2200d0-4eed-40c6-ab36-78bc62005773" providerId="ADAL" clId="{7B184F28-718E-4974-B93F-601DFC94A538}" dt="2025-06-13T13:51:00.757" v="2275" actId="20577"/>
          <ac:spMkLst>
            <pc:docMk/>
            <pc:sldMk cId="4045290397" sldId="1320"/>
            <ac:spMk id="13" creationId="{43562B45-0692-6624-B156-9A76C91F6D15}"/>
          </ac:spMkLst>
        </pc:spChg>
        <pc:spChg chg="mod">
          <ac:chgData name="Krishna  Patel" userId="ed2200d0-4eed-40c6-ab36-78bc62005773" providerId="ADAL" clId="{7B184F28-718E-4974-B93F-601DFC94A538}" dt="2025-06-13T13:49:49.541" v="2269" actId="1035"/>
          <ac:spMkLst>
            <pc:docMk/>
            <pc:sldMk cId="4045290397" sldId="1320"/>
            <ac:spMk id="14" creationId="{1D596BC9-3C3F-6ECE-C274-4E76739D633F}"/>
          </ac:spMkLst>
        </pc:spChg>
        <pc:spChg chg="mod">
          <ac:chgData name="Krishna  Patel" userId="ed2200d0-4eed-40c6-ab36-78bc62005773" providerId="ADAL" clId="{7B184F28-718E-4974-B93F-601DFC94A538}" dt="2025-06-13T13:43:47.927" v="2229" actId="1038"/>
          <ac:spMkLst>
            <pc:docMk/>
            <pc:sldMk cId="4045290397" sldId="1320"/>
            <ac:spMk id="16" creationId="{CBDB7D26-DA8E-AEAE-2ED7-FC458B853409}"/>
          </ac:spMkLst>
        </pc:spChg>
        <pc:spChg chg="mod">
          <ac:chgData name="Krishna  Patel" userId="ed2200d0-4eed-40c6-ab36-78bc62005773" providerId="ADAL" clId="{7B184F28-718E-4974-B93F-601DFC94A538}" dt="2025-06-13T13:48:24.487" v="2243" actId="1038"/>
          <ac:spMkLst>
            <pc:docMk/>
            <pc:sldMk cId="4045290397" sldId="1320"/>
            <ac:spMk id="18" creationId="{316C56C1-105D-609B-189A-CF783CC5B1E7}"/>
          </ac:spMkLst>
        </pc:spChg>
        <pc:spChg chg="mod">
          <ac:chgData name="Krishna  Patel" userId="ed2200d0-4eed-40c6-ab36-78bc62005773" providerId="ADAL" clId="{7B184F28-718E-4974-B93F-601DFC94A538}" dt="2025-06-13T13:49:18.843" v="2262" actId="1038"/>
          <ac:spMkLst>
            <pc:docMk/>
            <pc:sldMk cId="4045290397" sldId="1320"/>
            <ac:spMk id="20" creationId="{F0D6B05F-CADE-2EA5-5D8B-A6EE231B9012}"/>
          </ac:spMkLst>
        </pc:spChg>
        <pc:spChg chg="mod">
          <ac:chgData name="Krishna  Patel" userId="ed2200d0-4eed-40c6-ab36-78bc62005773" providerId="ADAL" clId="{7B184F28-718E-4974-B93F-601DFC94A538}" dt="2025-06-13T13:49:49.541" v="2269" actId="1035"/>
          <ac:spMkLst>
            <pc:docMk/>
            <pc:sldMk cId="4045290397" sldId="1320"/>
            <ac:spMk id="22" creationId="{988DD593-B521-085B-A039-67A58DC001B3}"/>
          </ac:spMkLst>
        </pc:spChg>
        <pc:spChg chg="mod">
          <ac:chgData name="Krishna  Patel" userId="ed2200d0-4eed-40c6-ab36-78bc62005773" providerId="ADAL" clId="{7B184F28-718E-4974-B93F-601DFC94A538}" dt="2025-06-13T13:43:47.927" v="2229" actId="1038"/>
          <ac:spMkLst>
            <pc:docMk/>
            <pc:sldMk cId="4045290397" sldId="1320"/>
            <ac:spMk id="24" creationId="{7099EF58-77A5-E89A-F812-A5CACABAD458}"/>
          </ac:spMkLst>
        </pc:spChg>
        <pc:spChg chg="mod">
          <ac:chgData name="Krishna  Patel" userId="ed2200d0-4eed-40c6-ab36-78bc62005773" providerId="ADAL" clId="{7B184F28-718E-4974-B93F-601DFC94A538}" dt="2025-06-13T13:48:24.487" v="2243" actId="1038"/>
          <ac:spMkLst>
            <pc:docMk/>
            <pc:sldMk cId="4045290397" sldId="1320"/>
            <ac:spMk id="26" creationId="{6163717F-9001-A7FB-7A13-0346D017F6F3}"/>
          </ac:spMkLst>
        </pc:spChg>
        <pc:spChg chg="mod">
          <ac:chgData name="Krishna  Patel" userId="ed2200d0-4eed-40c6-ab36-78bc62005773" providerId="ADAL" clId="{7B184F28-718E-4974-B93F-601DFC94A538}" dt="2025-06-13T13:49:18.843" v="2262" actId="1038"/>
          <ac:spMkLst>
            <pc:docMk/>
            <pc:sldMk cId="4045290397" sldId="1320"/>
            <ac:spMk id="28" creationId="{7EBD72D3-885A-0B55-1B93-0252C87856B2}"/>
          </ac:spMkLst>
        </pc:spChg>
        <pc:spChg chg="mod">
          <ac:chgData name="Krishna  Patel" userId="ed2200d0-4eed-40c6-ab36-78bc62005773" providerId="ADAL" clId="{7B184F28-718E-4974-B93F-601DFC94A538}" dt="2025-06-13T13:49:49.541" v="2269" actId="1035"/>
          <ac:spMkLst>
            <pc:docMk/>
            <pc:sldMk cId="4045290397" sldId="1320"/>
            <ac:spMk id="41" creationId="{300AB177-EDF3-BB4F-E0AD-A0D566458625}"/>
          </ac:spMkLst>
        </pc:spChg>
        <pc:spChg chg="mod">
          <ac:chgData name="Krishna  Patel" userId="ed2200d0-4eed-40c6-ab36-78bc62005773" providerId="ADAL" clId="{7B184F28-718E-4974-B93F-601DFC94A538}" dt="2025-06-13T13:43:47.927" v="2229" actId="1038"/>
          <ac:spMkLst>
            <pc:docMk/>
            <pc:sldMk cId="4045290397" sldId="1320"/>
            <ac:spMk id="43" creationId="{1EFA1E5D-2AD6-D685-D88A-4033DED8EA7E}"/>
          </ac:spMkLst>
        </pc:spChg>
        <pc:spChg chg="mod">
          <ac:chgData name="Krishna  Patel" userId="ed2200d0-4eed-40c6-ab36-78bc62005773" providerId="ADAL" clId="{7B184F28-718E-4974-B93F-601DFC94A538}" dt="2025-06-13T13:48:24.487" v="2243" actId="1038"/>
          <ac:spMkLst>
            <pc:docMk/>
            <pc:sldMk cId="4045290397" sldId="1320"/>
            <ac:spMk id="45" creationId="{94E50B83-FC20-5B5B-5A5B-2541070693D6}"/>
          </ac:spMkLst>
        </pc:spChg>
        <pc:spChg chg="mod">
          <ac:chgData name="Krishna  Patel" userId="ed2200d0-4eed-40c6-ab36-78bc62005773" providerId="ADAL" clId="{7B184F28-718E-4974-B93F-601DFC94A538}" dt="2025-06-13T13:49:18.843" v="2262" actId="1038"/>
          <ac:spMkLst>
            <pc:docMk/>
            <pc:sldMk cId="4045290397" sldId="1320"/>
            <ac:spMk id="47" creationId="{F788D4F4-580F-7490-E35E-A0EE126B9B9A}"/>
          </ac:spMkLst>
        </pc:spChg>
        <pc:spChg chg="mod">
          <ac:chgData name="Krishna  Patel" userId="ed2200d0-4eed-40c6-ab36-78bc62005773" providerId="ADAL" clId="{7B184F28-718E-4974-B93F-601DFC94A538}" dt="2025-06-13T13:49:49.541" v="2269" actId="1035"/>
          <ac:spMkLst>
            <pc:docMk/>
            <pc:sldMk cId="4045290397" sldId="1320"/>
            <ac:spMk id="49" creationId="{D90CE12D-11BF-1810-B422-EA60BA71B9B6}"/>
          </ac:spMkLst>
        </pc:spChg>
        <pc:spChg chg="mod">
          <ac:chgData name="Krishna  Patel" userId="ed2200d0-4eed-40c6-ab36-78bc62005773" providerId="ADAL" clId="{7B184F28-718E-4974-B93F-601DFC94A538}" dt="2025-06-13T13:43:47.927" v="2229" actId="1038"/>
          <ac:spMkLst>
            <pc:docMk/>
            <pc:sldMk cId="4045290397" sldId="1320"/>
            <ac:spMk id="51" creationId="{542ED7A7-8579-38A4-2576-C2FF0A1841CD}"/>
          </ac:spMkLst>
        </pc:spChg>
        <pc:spChg chg="mod">
          <ac:chgData name="Krishna  Patel" userId="ed2200d0-4eed-40c6-ab36-78bc62005773" providerId="ADAL" clId="{7B184F28-718E-4974-B93F-601DFC94A538}" dt="2025-06-13T13:48:24.487" v="2243" actId="1038"/>
          <ac:spMkLst>
            <pc:docMk/>
            <pc:sldMk cId="4045290397" sldId="1320"/>
            <ac:spMk id="53" creationId="{262A6B9D-57AF-F743-853A-8CFEC3085783}"/>
          </ac:spMkLst>
        </pc:spChg>
        <pc:spChg chg="mod">
          <ac:chgData name="Krishna  Patel" userId="ed2200d0-4eed-40c6-ab36-78bc62005773" providerId="ADAL" clId="{7B184F28-718E-4974-B93F-601DFC94A538}" dt="2025-06-13T13:49:18.843" v="2262" actId="1038"/>
          <ac:spMkLst>
            <pc:docMk/>
            <pc:sldMk cId="4045290397" sldId="1320"/>
            <ac:spMk id="55" creationId="{138FD489-678F-78C7-2750-BB057E6012A9}"/>
          </ac:spMkLst>
        </pc:spChg>
        <pc:spChg chg="mod">
          <ac:chgData name="Krishna  Patel" userId="ed2200d0-4eed-40c6-ab36-78bc62005773" providerId="ADAL" clId="{7B184F28-718E-4974-B93F-601DFC94A538}" dt="2025-06-13T13:49:49.541" v="2269" actId="1035"/>
          <ac:spMkLst>
            <pc:docMk/>
            <pc:sldMk cId="4045290397" sldId="1320"/>
            <ac:spMk id="56" creationId="{D389BE93-C89E-C556-75C9-43A9FDCEC254}"/>
          </ac:spMkLst>
        </pc:spChg>
        <pc:spChg chg="mod">
          <ac:chgData name="Krishna  Patel" userId="ed2200d0-4eed-40c6-ab36-78bc62005773" providerId="ADAL" clId="{7B184F28-718E-4974-B93F-601DFC94A538}" dt="2025-06-13T13:43:47.927" v="2229" actId="1038"/>
          <ac:spMkLst>
            <pc:docMk/>
            <pc:sldMk cId="4045290397" sldId="1320"/>
            <ac:spMk id="58" creationId="{3B8EFC54-28B1-A029-382A-AB4B39C9180E}"/>
          </ac:spMkLst>
        </pc:spChg>
        <pc:spChg chg="mod">
          <ac:chgData name="Krishna  Patel" userId="ed2200d0-4eed-40c6-ab36-78bc62005773" providerId="ADAL" clId="{7B184F28-718E-4974-B93F-601DFC94A538}" dt="2025-06-13T13:48:24.487" v="2243" actId="1038"/>
          <ac:spMkLst>
            <pc:docMk/>
            <pc:sldMk cId="4045290397" sldId="1320"/>
            <ac:spMk id="60" creationId="{06E9E2F5-A3F0-5D9D-006B-54342E680C56}"/>
          </ac:spMkLst>
        </pc:spChg>
        <pc:spChg chg="mod">
          <ac:chgData name="Krishna  Patel" userId="ed2200d0-4eed-40c6-ab36-78bc62005773" providerId="ADAL" clId="{7B184F28-718E-4974-B93F-601DFC94A538}" dt="2025-06-13T13:49:18.843" v="2262" actId="1038"/>
          <ac:spMkLst>
            <pc:docMk/>
            <pc:sldMk cId="4045290397" sldId="1320"/>
            <ac:spMk id="62" creationId="{76C9F8E5-0DF3-AD3E-0364-74D518B283FE}"/>
          </ac:spMkLst>
        </pc:spChg>
        <pc:spChg chg="mod">
          <ac:chgData name="Krishna  Patel" userId="ed2200d0-4eed-40c6-ab36-78bc62005773" providerId="ADAL" clId="{7B184F28-718E-4974-B93F-601DFC94A538}" dt="2025-06-13T13:49:49.541" v="2269" actId="1035"/>
          <ac:spMkLst>
            <pc:docMk/>
            <pc:sldMk cId="4045290397" sldId="1320"/>
            <ac:spMk id="64" creationId="{87D1C671-35AB-BFFB-FC94-13BEFCDB2A6A}"/>
          </ac:spMkLst>
        </pc:spChg>
        <pc:spChg chg="mod">
          <ac:chgData name="Krishna  Patel" userId="ed2200d0-4eed-40c6-ab36-78bc62005773" providerId="ADAL" clId="{7B184F28-718E-4974-B93F-601DFC94A538}" dt="2025-06-13T13:43:47.927" v="2229" actId="1038"/>
          <ac:spMkLst>
            <pc:docMk/>
            <pc:sldMk cId="4045290397" sldId="1320"/>
            <ac:spMk id="66" creationId="{4D4CD2CA-111C-DA84-A7D8-FE0648E543B9}"/>
          </ac:spMkLst>
        </pc:spChg>
        <pc:spChg chg="mod">
          <ac:chgData name="Krishna  Patel" userId="ed2200d0-4eed-40c6-ab36-78bc62005773" providerId="ADAL" clId="{7B184F28-718E-4974-B93F-601DFC94A538}" dt="2025-06-13T13:48:24.487" v="2243" actId="1038"/>
          <ac:spMkLst>
            <pc:docMk/>
            <pc:sldMk cId="4045290397" sldId="1320"/>
            <ac:spMk id="68" creationId="{9674F073-2CAE-5E18-04F8-AD27788819FD}"/>
          </ac:spMkLst>
        </pc:spChg>
        <pc:spChg chg="mod">
          <ac:chgData name="Krishna  Patel" userId="ed2200d0-4eed-40c6-ab36-78bc62005773" providerId="ADAL" clId="{7B184F28-718E-4974-B93F-601DFC94A538}" dt="2025-06-13T13:49:18.843" v="2262" actId="1038"/>
          <ac:spMkLst>
            <pc:docMk/>
            <pc:sldMk cId="4045290397" sldId="1320"/>
            <ac:spMk id="70" creationId="{F5587947-CDA7-3D08-23EA-534D797C7A9E}"/>
          </ac:spMkLst>
        </pc:spChg>
        <pc:spChg chg="mod">
          <ac:chgData name="Krishna  Patel" userId="ed2200d0-4eed-40c6-ab36-78bc62005773" providerId="ADAL" clId="{7B184F28-718E-4974-B93F-601DFC94A538}" dt="2025-06-13T13:49:49.541" v="2269" actId="1035"/>
          <ac:spMkLst>
            <pc:docMk/>
            <pc:sldMk cId="4045290397" sldId="1320"/>
            <ac:spMk id="71" creationId="{5332257E-41AB-9982-F038-C1D07154A930}"/>
          </ac:spMkLst>
        </pc:spChg>
        <pc:spChg chg="mod">
          <ac:chgData name="Krishna  Patel" userId="ed2200d0-4eed-40c6-ab36-78bc62005773" providerId="ADAL" clId="{7B184F28-718E-4974-B93F-601DFC94A538}" dt="2025-06-13T13:43:47.927" v="2229" actId="1038"/>
          <ac:spMkLst>
            <pc:docMk/>
            <pc:sldMk cId="4045290397" sldId="1320"/>
            <ac:spMk id="73" creationId="{122E887A-CDD6-6D83-420A-7AA87E132C7A}"/>
          </ac:spMkLst>
        </pc:spChg>
        <pc:spChg chg="mod">
          <ac:chgData name="Krishna  Patel" userId="ed2200d0-4eed-40c6-ab36-78bc62005773" providerId="ADAL" clId="{7B184F28-718E-4974-B93F-601DFC94A538}" dt="2025-06-13T13:48:24.487" v="2243" actId="1038"/>
          <ac:spMkLst>
            <pc:docMk/>
            <pc:sldMk cId="4045290397" sldId="1320"/>
            <ac:spMk id="75" creationId="{58C461A7-1D34-DBBB-33F2-EE0F0B555557}"/>
          </ac:spMkLst>
        </pc:spChg>
        <pc:spChg chg="mod">
          <ac:chgData name="Krishna  Patel" userId="ed2200d0-4eed-40c6-ab36-78bc62005773" providerId="ADAL" clId="{7B184F28-718E-4974-B93F-601DFC94A538}" dt="2025-06-13T13:49:18.843" v="2262" actId="1038"/>
          <ac:spMkLst>
            <pc:docMk/>
            <pc:sldMk cId="4045290397" sldId="1320"/>
            <ac:spMk id="77" creationId="{E06E5335-13AB-7D36-AD38-AABB36AB8FA0}"/>
          </ac:spMkLst>
        </pc:spChg>
        <pc:grpChg chg="mod">
          <ac:chgData name="Krishna  Patel" userId="ed2200d0-4eed-40c6-ab36-78bc62005773" providerId="ADAL" clId="{7B184F28-718E-4974-B93F-601DFC94A538}" dt="2025-06-13T13:51:16.261" v="2278" actId="1076"/>
          <ac:grpSpMkLst>
            <pc:docMk/>
            <pc:sldMk cId="4045290397" sldId="1320"/>
            <ac:grpSpMk id="5" creationId="{E25C3E97-3CF3-F58E-0370-CB83EDA9B038}"/>
          </ac:grpSpMkLst>
        </pc:grpChg>
        <pc:picChg chg="mod">
          <ac:chgData name="Krishna  Patel" userId="ed2200d0-4eed-40c6-ab36-78bc62005773" providerId="ADAL" clId="{7B184F28-718E-4974-B93F-601DFC94A538}" dt="2025-06-13T13:43:32.419" v="2219" actId="552"/>
          <ac:picMkLst>
            <pc:docMk/>
            <pc:sldMk cId="4045290397" sldId="1320"/>
            <ac:picMk id="15" creationId="{567AE056-6130-CB2D-7B66-BB44B3FB76F9}"/>
          </ac:picMkLst>
        </pc:picChg>
        <pc:picChg chg="mod">
          <ac:chgData name="Krishna  Patel" userId="ed2200d0-4eed-40c6-ab36-78bc62005773" providerId="ADAL" clId="{7B184F28-718E-4974-B93F-601DFC94A538}" dt="2025-06-13T13:47:55.979" v="2230" actId="552"/>
          <ac:picMkLst>
            <pc:docMk/>
            <pc:sldMk cId="4045290397" sldId="1320"/>
            <ac:picMk id="17" creationId="{2349D2CF-A8CB-4134-4804-B10244A7022E}"/>
          </ac:picMkLst>
        </pc:picChg>
        <pc:picChg chg="mod">
          <ac:chgData name="Krishna  Patel" userId="ed2200d0-4eed-40c6-ab36-78bc62005773" providerId="ADAL" clId="{7B184F28-718E-4974-B93F-601DFC94A538}" dt="2025-06-13T13:48:46.133" v="2244" actId="552"/>
          <ac:picMkLst>
            <pc:docMk/>
            <pc:sldMk cId="4045290397" sldId="1320"/>
            <ac:picMk id="19" creationId="{42E044E6-13FD-F453-A336-A34977296086}"/>
          </ac:picMkLst>
        </pc:picChg>
        <pc:picChg chg="mod">
          <ac:chgData name="Krishna  Patel" userId="ed2200d0-4eed-40c6-ab36-78bc62005773" providerId="ADAL" clId="{7B184F28-718E-4974-B93F-601DFC94A538}" dt="2025-06-13T13:43:32.419" v="2219" actId="552"/>
          <ac:picMkLst>
            <pc:docMk/>
            <pc:sldMk cId="4045290397" sldId="1320"/>
            <ac:picMk id="23" creationId="{ED29FA4F-97C0-9CAE-0280-9D04CF997990}"/>
          </ac:picMkLst>
        </pc:picChg>
        <pc:picChg chg="mod">
          <ac:chgData name="Krishna  Patel" userId="ed2200d0-4eed-40c6-ab36-78bc62005773" providerId="ADAL" clId="{7B184F28-718E-4974-B93F-601DFC94A538}" dt="2025-06-13T13:47:55.979" v="2230" actId="552"/>
          <ac:picMkLst>
            <pc:docMk/>
            <pc:sldMk cId="4045290397" sldId="1320"/>
            <ac:picMk id="25" creationId="{0AA2889C-D3EE-812C-4C7B-2D07FBE87780}"/>
          </ac:picMkLst>
        </pc:picChg>
        <pc:picChg chg="mod">
          <ac:chgData name="Krishna  Patel" userId="ed2200d0-4eed-40c6-ab36-78bc62005773" providerId="ADAL" clId="{7B184F28-718E-4974-B93F-601DFC94A538}" dt="2025-06-13T13:48:46.133" v="2244" actId="552"/>
          <ac:picMkLst>
            <pc:docMk/>
            <pc:sldMk cId="4045290397" sldId="1320"/>
            <ac:picMk id="27" creationId="{EED6930F-AFBE-B7B7-F3ED-175B4FE7596E}"/>
          </ac:picMkLst>
        </pc:picChg>
        <pc:picChg chg="mod">
          <ac:chgData name="Krishna  Patel" userId="ed2200d0-4eed-40c6-ab36-78bc62005773" providerId="ADAL" clId="{7B184F28-718E-4974-B93F-601DFC94A538}" dt="2025-06-13T13:43:32.419" v="2219" actId="552"/>
          <ac:picMkLst>
            <pc:docMk/>
            <pc:sldMk cId="4045290397" sldId="1320"/>
            <ac:picMk id="42" creationId="{752BE145-802E-4584-EB8D-0F4EF2E7AAA4}"/>
          </ac:picMkLst>
        </pc:picChg>
        <pc:picChg chg="mod">
          <ac:chgData name="Krishna  Patel" userId="ed2200d0-4eed-40c6-ab36-78bc62005773" providerId="ADAL" clId="{7B184F28-718E-4974-B93F-601DFC94A538}" dt="2025-06-13T13:48:03.035" v="2231" actId="552"/>
          <ac:picMkLst>
            <pc:docMk/>
            <pc:sldMk cId="4045290397" sldId="1320"/>
            <ac:picMk id="44" creationId="{827B45D7-2EE8-9F50-60A8-99C27A465539}"/>
          </ac:picMkLst>
        </pc:picChg>
        <pc:picChg chg="mod">
          <ac:chgData name="Krishna  Patel" userId="ed2200d0-4eed-40c6-ab36-78bc62005773" providerId="ADAL" clId="{7B184F28-718E-4974-B93F-601DFC94A538}" dt="2025-06-13T13:48:46.133" v="2244" actId="552"/>
          <ac:picMkLst>
            <pc:docMk/>
            <pc:sldMk cId="4045290397" sldId="1320"/>
            <ac:picMk id="46" creationId="{600C8A8E-347F-7AF7-B35D-5110AF6FF01E}"/>
          </ac:picMkLst>
        </pc:picChg>
        <pc:picChg chg="mod">
          <ac:chgData name="Krishna  Patel" userId="ed2200d0-4eed-40c6-ab36-78bc62005773" providerId="ADAL" clId="{7B184F28-718E-4974-B93F-601DFC94A538}" dt="2025-06-13T13:43:32.419" v="2219" actId="552"/>
          <ac:picMkLst>
            <pc:docMk/>
            <pc:sldMk cId="4045290397" sldId="1320"/>
            <ac:picMk id="50" creationId="{03A052A0-1B9D-1B64-FE59-27DB6953B97E}"/>
          </ac:picMkLst>
        </pc:picChg>
        <pc:picChg chg="mod">
          <ac:chgData name="Krishna  Patel" userId="ed2200d0-4eed-40c6-ab36-78bc62005773" providerId="ADAL" clId="{7B184F28-718E-4974-B93F-601DFC94A538}" dt="2025-06-13T13:48:03.035" v="2231" actId="552"/>
          <ac:picMkLst>
            <pc:docMk/>
            <pc:sldMk cId="4045290397" sldId="1320"/>
            <ac:picMk id="52" creationId="{C4B3C274-3DF3-8A58-3743-6EA6A01F97FB}"/>
          </ac:picMkLst>
        </pc:picChg>
        <pc:picChg chg="mod">
          <ac:chgData name="Krishna  Patel" userId="ed2200d0-4eed-40c6-ab36-78bc62005773" providerId="ADAL" clId="{7B184F28-718E-4974-B93F-601DFC94A538}" dt="2025-06-13T13:48:59.799" v="2245" actId="552"/>
          <ac:picMkLst>
            <pc:docMk/>
            <pc:sldMk cId="4045290397" sldId="1320"/>
            <ac:picMk id="54" creationId="{00002181-C71B-DEC9-E65D-A082BAB611D9}"/>
          </ac:picMkLst>
        </pc:picChg>
        <pc:picChg chg="mod">
          <ac:chgData name="Krishna  Patel" userId="ed2200d0-4eed-40c6-ab36-78bc62005773" providerId="ADAL" clId="{7B184F28-718E-4974-B93F-601DFC94A538}" dt="2025-06-13T13:43:32.419" v="2219" actId="552"/>
          <ac:picMkLst>
            <pc:docMk/>
            <pc:sldMk cId="4045290397" sldId="1320"/>
            <ac:picMk id="57" creationId="{A1DA67E8-A44B-A403-7B81-101A50335E08}"/>
          </ac:picMkLst>
        </pc:picChg>
        <pc:picChg chg="mod">
          <ac:chgData name="Krishna  Patel" userId="ed2200d0-4eed-40c6-ab36-78bc62005773" providerId="ADAL" clId="{7B184F28-718E-4974-B93F-601DFC94A538}" dt="2025-06-13T13:47:55.979" v="2230" actId="552"/>
          <ac:picMkLst>
            <pc:docMk/>
            <pc:sldMk cId="4045290397" sldId="1320"/>
            <ac:picMk id="59" creationId="{4B8F6D07-19F4-A1DB-088C-002C847945A9}"/>
          </ac:picMkLst>
        </pc:picChg>
        <pc:picChg chg="mod">
          <ac:chgData name="Krishna  Patel" userId="ed2200d0-4eed-40c6-ab36-78bc62005773" providerId="ADAL" clId="{7B184F28-718E-4974-B93F-601DFC94A538}" dt="2025-06-13T13:48:59.799" v="2245" actId="552"/>
          <ac:picMkLst>
            <pc:docMk/>
            <pc:sldMk cId="4045290397" sldId="1320"/>
            <ac:picMk id="61" creationId="{D795365E-701F-225A-DE69-E0CC37D54DEB}"/>
          </ac:picMkLst>
        </pc:picChg>
        <pc:picChg chg="mod">
          <ac:chgData name="Krishna  Patel" userId="ed2200d0-4eed-40c6-ab36-78bc62005773" providerId="ADAL" clId="{7B184F28-718E-4974-B93F-601DFC94A538}" dt="2025-06-13T13:43:32.419" v="2219" actId="552"/>
          <ac:picMkLst>
            <pc:docMk/>
            <pc:sldMk cId="4045290397" sldId="1320"/>
            <ac:picMk id="65" creationId="{226E10D4-173C-8E39-A69A-0D8E95E5C93B}"/>
          </ac:picMkLst>
        </pc:picChg>
        <pc:picChg chg="mod">
          <ac:chgData name="Krishna  Patel" userId="ed2200d0-4eed-40c6-ab36-78bc62005773" providerId="ADAL" clId="{7B184F28-718E-4974-B93F-601DFC94A538}" dt="2025-06-13T13:47:55.979" v="2230" actId="552"/>
          <ac:picMkLst>
            <pc:docMk/>
            <pc:sldMk cId="4045290397" sldId="1320"/>
            <ac:picMk id="67" creationId="{10663714-3ADF-63DB-E0D4-A1198DD46B2C}"/>
          </ac:picMkLst>
        </pc:picChg>
        <pc:picChg chg="mod">
          <ac:chgData name="Krishna  Patel" userId="ed2200d0-4eed-40c6-ab36-78bc62005773" providerId="ADAL" clId="{7B184F28-718E-4974-B93F-601DFC94A538}" dt="2025-06-13T13:48:46.133" v="2244" actId="552"/>
          <ac:picMkLst>
            <pc:docMk/>
            <pc:sldMk cId="4045290397" sldId="1320"/>
            <ac:picMk id="69" creationId="{2479EBA3-6979-652D-1FD6-18D54B15590F}"/>
          </ac:picMkLst>
        </pc:picChg>
        <pc:picChg chg="mod">
          <ac:chgData name="Krishna  Patel" userId="ed2200d0-4eed-40c6-ab36-78bc62005773" providerId="ADAL" clId="{7B184F28-718E-4974-B93F-601DFC94A538}" dt="2025-06-13T13:43:32.419" v="2219" actId="552"/>
          <ac:picMkLst>
            <pc:docMk/>
            <pc:sldMk cId="4045290397" sldId="1320"/>
            <ac:picMk id="72" creationId="{21F66222-CB38-1D42-4B53-95D28147FB80}"/>
          </ac:picMkLst>
        </pc:picChg>
        <pc:picChg chg="mod">
          <ac:chgData name="Krishna  Patel" userId="ed2200d0-4eed-40c6-ab36-78bc62005773" providerId="ADAL" clId="{7B184F28-718E-4974-B93F-601DFC94A538}" dt="2025-06-13T13:47:55.979" v="2230" actId="552"/>
          <ac:picMkLst>
            <pc:docMk/>
            <pc:sldMk cId="4045290397" sldId="1320"/>
            <ac:picMk id="74" creationId="{A378F1AA-28CC-7AE3-78F8-5DA1AC4C2199}"/>
          </ac:picMkLst>
        </pc:picChg>
        <pc:picChg chg="mod">
          <ac:chgData name="Krishna  Patel" userId="ed2200d0-4eed-40c6-ab36-78bc62005773" providerId="ADAL" clId="{7B184F28-718E-4974-B93F-601DFC94A538}" dt="2025-06-13T13:48:46.133" v="2244" actId="552"/>
          <ac:picMkLst>
            <pc:docMk/>
            <pc:sldMk cId="4045290397" sldId="1320"/>
            <ac:picMk id="76" creationId="{743D6D28-BFDD-59A8-4410-3191FD83613A}"/>
          </ac:picMkLst>
        </pc:picChg>
      </pc:sldChg>
      <pc:sldChg chg="addSp delSp modSp mod modClrScheme chgLayout">
        <pc:chgData name="Krishna  Patel" userId="ed2200d0-4eed-40c6-ab36-78bc62005773" providerId="ADAL" clId="{7B184F28-718E-4974-B93F-601DFC94A538}" dt="2025-06-13T13:28:08.003" v="2131" actId="1037"/>
        <pc:sldMkLst>
          <pc:docMk/>
          <pc:sldMk cId="1618323921" sldId="1405"/>
        </pc:sldMkLst>
        <pc:spChg chg="mod ord">
          <ac:chgData name="Krishna  Patel" userId="ed2200d0-4eed-40c6-ab36-78bc62005773" providerId="ADAL" clId="{7B184F28-718E-4974-B93F-601DFC94A538}" dt="2025-06-13T13:21:29.268" v="2042" actId="700"/>
          <ac:spMkLst>
            <pc:docMk/>
            <pc:sldMk cId="1618323921" sldId="1405"/>
            <ac:spMk id="2" creationId="{F24936F1-EC21-3F58-1A5D-707883051E55}"/>
          </ac:spMkLst>
        </pc:spChg>
        <pc:spChg chg="mod ord">
          <ac:chgData name="Krishna  Patel" userId="ed2200d0-4eed-40c6-ab36-78bc62005773" providerId="ADAL" clId="{7B184F28-718E-4974-B93F-601DFC94A538}" dt="2025-06-13T13:21:29.268" v="2042" actId="700"/>
          <ac:spMkLst>
            <pc:docMk/>
            <pc:sldMk cId="1618323921" sldId="1405"/>
            <ac:spMk id="3" creationId="{5105E95D-8388-3F32-D28C-5392A884FEE9}"/>
          </ac:spMkLst>
        </pc:spChg>
        <pc:spChg chg="mod ord">
          <ac:chgData name="Krishna  Patel" userId="ed2200d0-4eed-40c6-ab36-78bc62005773" providerId="ADAL" clId="{7B184F28-718E-4974-B93F-601DFC94A538}" dt="2025-06-13T13:21:29.268" v="2042" actId="700"/>
          <ac:spMkLst>
            <pc:docMk/>
            <pc:sldMk cId="1618323921" sldId="1405"/>
            <ac:spMk id="4" creationId="{F20F8102-BC1E-A66F-69DE-AC65BEE105FB}"/>
          </ac:spMkLst>
        </pc:spChg>
        <pc:spChg chg="add mod">
          <ac:chgData name="Krishna  Patel" userId="ed2200d0-4eed-40c6-ab36-78bc62005773" providerId="ADAL" clId="{7B184F28-718E-4974-B93F-601DFC94A538}" dt="2025-06-13T13:21:19.521" v="2040"/>
          <ac:spMkLst>
            <pc:docMk/>
            <pc:sldMk cId="1618323921" sldId="1405"/>
            <ac:spMk id="5" creationId="{EF7A91A4-47BA-4308-97A4-B86B9024DFAE}"/>
          </ac:spMkLst>
        </pc:spChg>
        <pc:spChg chg="add mod ord">
          <ac:chgData name="Krishna  Patel" userId="ed2200d0-4eed-40c6-ab36-78bc62005773" providerId="ADAL" clId="{7B184F28-718E-4974-B93F-601DFC94A538}" dt="2025-06-13T13:24:54.687" v="2088" actId="170"/>
          <ac:spMkLst>
            <pc:docMk/>
            <pc:sldMk cId="1618323921" sldId="1405"/>
            <ac:spMk id="9" creationId="{9921252E-49F7-B438-903E-63EFE535F1B9}"/>
          </ac:spMkLst>
        </pc:spChg>
        <pc:spChg chg="add mod ord">
          <ac:chgData name="Krishna  Patel" userId="ed2200d0-4eed-40c6-ab36-78bc62005773" providerId="ADAL" clId="{7B184F28-718E-4974-B93F-601DFC94A538}" dt="2025-06-13T13:24:54.687" v="2088" actId="170"/>
          <ac:spMkLst>
            <pc:docMk/>
            <pc:sldMk cId="1618323921" sldId="1405"/>
            <ac:spMk id="10" creationId="{9F825284-49EE-FB9C-52C9-2B7352DD7441}"/>
          </ac:spMkLst>
        </pc:spChg>
        <pc:spChg chg="del mod ord">
          <ac:chgData name="Krishna  Patel" userId="ed2200d0-4eed-40c6-ab36-78bc62005773" providerId="ADAL" clId="{7B184F28-718E-4974-B93F-601DFC94A538}" dt="2025-06-13T13:25:01.789" v="2089" actId="167"/>
          <ac:spMkLst>
            <pc:docMk/>
            <pc:sldMk cId="1618323921" sldId="1405"/>
            <ac:spMk id="24" creationId="{06F22B71-75AE-A860-5B6E-69C475E23492}"/>
          </ac:spMkLst>
        </pc:spChg>
        <pc:spChg chg="mod">
          <ac:chgData name="Krishna  Patel" userId="ed2200d0-4eed-40c6-ab36-78bc62005773" providerId="ADAL" clId="{7B184F28-718E-4974-B93F-601DFC94A538}" dt="2025-06-13T13:22:23.145" v="2053" actId="1076"/>
          <ac:spMkLst>
            <pc:docMk/>
            <pc:sldMk cId="1618323921" sldId="1405"/>
            <ac:spMk id="25" creationId="{400522A5-CBC4-16A7-AD4D-3C9A19BEDDB4}"/>
          </ac:spMkLst>
        </pc:spChg>
        <pc:spChg chg="mod">
          <ac:chgData name="Krishna  Patel" userId="ed2200d0-4eed-40c6-ab36-78bc62005773" providerId="ADAL" clId="{7B184F28-718E-4974-B93F-601DFC94A538}" dt="2025-06-13T13:23:06.287" v="2060" actId="1076"/>
          <ac:spMkLst>
            <pc:docMk/>
            <pc:sldMk cId="1618323921" sldId="1405"/>
            <ac:spMk id="26" creationId="{43608BD4-54A1-800F-5400-871C080B8C4B}"/>
          </ac:spMkLst>
        </pc:spChg>
        <pc:spChg chg="mod">
          <ac:chgData name="Krishna  Patel" userId="ed2200d0-4eed-40c6-ab36-78bc62005773" providerId="ADAL" clId="{7B184F28-718E-4974-B93F-601DFC94A538}" dt="2025-06-13T13:28:08.003" v="2131" actId="1037"/>
          <ac:spMkLst>
            <pc:docMk/>
            <pc:sldMk cId="1618323921" sldId="1405"/>
            <ac:spMk id="29" creationId="{674D0205-C4C4-351A-8626-B413C6504BFD}"/>
          </ac:spMkLst>
        </pc:spChg>
        <pc:spChg chg="mod">
          <ac:chgData name="Krishna  Patel" userId="ed2200d0-4eed-40c6-ab36-78bc62005773" providerId="ADAL" clId="{7B184F28-718E-4974-B93F-601DFC94A538}" dt="2025-06-13T13:23:09.815" v="2061" actId="21"/>
          <ac:spMkLst>
            <pc:docMk/>
            <pc:sldMk cId="1618323921" sldId="1405"/>
            <ac:spMk id="30" creationId="{C31AEF79-CFA1-859D-6ABD-8FD58C12903B}"/>
          </ac:spMkLst>
        </pc:spChg>
        <pc:spChg chg="mod">
          <ac:chgData name="Krishna  Patel" userId="ed2200d0-4eed-40c6-ab36-78bc62005773" providerId="ADAL" clId="{7B184F28-718E-4974-B93F-601DFC94A538}" dt="2025-06-13T13:28:08.003" v="2131" actId="1037"/>
          <ac:spMkLst>
            <pc:docMk/>
            <pc:sldMk cId="1618323921" sldId="1405"/>
            <ac:spMk id="32" creationId="{9E6A3CDD-7A58-E693-C0E5-456532F633A5}"/>
          </ac:spMkLst>
        </pc:spChg>
        <pc:spChg chg="mod">
          <ac:chgData name="Krishna  Patel" userId="ed2200d0-4eed-40c6-ab36-78bc62005773" providerId="ADAL" clId="{7B184F28-718E-4974-B93F-601DFC94A538}" dt="2025-06-13T13:23:17.350" v="2065" actId="21"/>
          <ac:spMkLst>
            <pc:docMk/>
            <pc:sldMk cId="1618323921" sldId="1405"/>
            <ac:spMk id="33" creationId="{21A30F5B-7B36-FCD4-CFED-632F21EEAB6D}"/>
          </ac:spMkLst>
        </pc:spChg>
        <pc:spChg chg="mod">
          <ac:chgData name="Krishna  Patel" userId="ed2200d0-4eed-40c6-ab36-78bc62005773" providerId="ADAL" clId="{7B184F28-718E-4974-B93F-601DFC94A538}" dt="2025-06-13T13:28:08.003" v="2131" actId="1037"/>
          <ac:spMkLst>
            <pc:docMk/>
            <pc:sldMk cId="1618323921" sldId="1405"/>
            <ac:spMk id="35" creationId="{30DE7914-A4BC-FF30-EF2D-E04572182810}"/>
          </ac:spMkLst>
        </pc:spChg>
        <pc:spChg chg="mod">
          <ac:chgData name="Krishna  Patel" userId="ed2200d0-4eed-40c6-ab36-78bc62005773" providerId="ADAL" clId="{7B184F28-718E-4974-B93F-601DFC94A538}" dt="2025-06-13T13:23:25.661" v="2069" actId="21"/>
          <ac:spMkLst>
            <pc:docMk/>
            <pc:sldMk cId="1618323921" sldId="1405"/>
            <ac:spMk id="45" creationId="{BB46AB0F-730A-C378-3E71-DC2064622A97}"/>
          </ac:spMkLst>
        </pc:spChg>
        <pc:spChg chg="mod ord">
          <ac:chgData name="Krishna  Patel" userId="ed2200d0-4eed-40c6-ab36-78bc62005773" providerId="ADAL" clId="{7B184F28-718E-4974-B93F-601DFC94A538}" dt="2025-06-13T13:25:01.789" v="2089" actId="167"/>
          <ac:spMkLst>
            <pc:docMk/>
            <pc:sldMk cId="1618323921" sldId="1405"/>
            <ac:spMk id="46" creationId="{F318A3A0-77E2-C509-3550-36B84968A26E}"/>
          </ac:spMkLst>
        </pc:spChg>
        <pc:spChg chg="mod">
          <ac:chgData name="Krishna  Patel" userId="ed2200d0-4eed-40c6-ab36-78bc62005773" providerId="ADAL" clId="{7B184F28-718E-4974-B93F-601DFC94A538}" dt="2025-06-13T13:22:29.175" v="2054" actId="1076"/>
          <ac:spMkLst>
            <pc:docMk/>
            <pc:sldMk cId="1618323921" sldId="1405"/>
            <ac:spMk id="48" creationId="{6E7922E8-7DD1-A113-97C6-1D7147EB486C}"/>
          </ac:spMkLst>
        </pc:spChg>
        <pc:spChg chg="mod">
          <ac:chgData name="Krishna  Patel" userId="ed2200d0-4eed-40c6-ab36-78bc62005773" providerId="ADAL" clId="{7B184F28-718E-4974-B93F-601DFC94A538}" dt="2025-06-13T13:22:47.890" v="2058" actId="14100"/>
          <ac:spMkLst>
            <pc:docMk/>
            <pc:sldMk cId="1618323921" sldId="1405"/>
            <ac:spMk id="49" creationId="{87FB7AE1-6425-958F-81BA-8C8F6071A6A7}"/>
          </ac:spMkLst>
        </pc:spChg>
        <pc:spChg chg="mod">
          <ac:chgData name="Krishna  Patel" userId="ed2200d0-4eed-40c6-ab36-78bc62005773" providerId="ADAL" clId="{7B184F28-718E-4974-B93F-601DFC94A538}" dt="2025-06-13T13:27:59.864" v="2122" actId="1038"/>
          <ac:spMkLst>
            <pc:docMk/>
            <pc:sldMk cId="1618323921" sldId="1405"/>
            <ac:spMk id="52" creationId="{0EB26578-A341-54F1-E20B-75172BD5A65B}"/>
          </ac:spMkLst>
        </pc:spChg>
        <pc:spChg chg="mod">
          <ac:chgData name="Krishna  Patel" userId="ed2200d0-4eed-40c6-ab36-78bc62005773" providerId="ADAL" clId="{7B184F28-718E-4974-B93F-601DFC94A538}" dt="2025-06-13T13:23:33.198" v="2073" actId="21"/>
          <ac:spMkLst>
            <pc:docMk/>
            <pc:sldMk cId="1618323921" sldId="1405"/>
            <ac:spMk id="53" creationId="{6494268B-02B7-2880-9188-399D0A99FF6E}"/>
          </ac:spMkLst>
        </pc:spChg>
        <pc:spChg chg="mod">
          <ac:chgData name="Krishna  Patel" userId="ed2200d0-4eed-40c6-ab36-78bc62005773" providerId="ADAL" clId="{7B184F28-718E-4974-B93F-601DFC94A538}" dt="2025-06-13T13:27:59.864" v="2122" actId="1038"/>
          <ac:spMkLst>
            <pc:docMk/>
            <pc:sldMk cId="1618323921" sldId="1405"/>
            <ac:spMk id="55" creationId="{4A122708-E8A8-6662-183E-121CC580BA4E}"/>
          </ac:spMkLst>
        </pc:spChg>
        <pc:spChg chg="mod">
          <ac:chgData name="Krishna  Patel" userId="ed2200d0-4eed-40c6-ab36-78bc62005773" providerId="ADAL" clId="{7B184F28-718E-4974-B93F-601DFC94A538}" dt="2025-06-13T13:24:06.049" v="2077" actId="21"/>
          <ac:spMkLst>
            <pc:docMk/>
            <pc:sldMk cId="1618323921" sldId="1405"/>
            <ac:spMk id="56" creationId="{59248990-0983-19BF-4BFC-D813678FE47A}"/>
          </ac:spMkLst>
        </pc:spChg>
        <pc:spChg chg="mod">
          <ac:chgData name="Krishna  Patel" userId="ed2200d0-4eed-40c6-ab36-78bc62005773" providerId="ADAL" clId="{7B184F28-718E-4974-B93F-601DFC94A538}" dt="2025-06-13T13:27:59.864" v="2122" actId="1038"/>
          <ac:spMkLst>
            <pc:docMk/>
            <pc:sldMk cId="1618323921" sldId="1405"/>
            <ac:spMk id="58" creationId="{62C4F3B9-ED4B-23BA-E22F-230542EED3E3}"/>
          </ac:spMkLst>
        </pc:spChg>
      </pc:sldChg>
      <pc:sldChg chg="addSp delSp modSp mod modClrScheme chgLayout">
        <pc:chgData name="Krishna  Patel" userId="ed2200d0-4eed-40c6-ab36-78bc62005773" providerId="ADAL" clId="{7B184F28-718E-4974-B93F-601DFC94A538}" dt="2025-06-13T13:20:45.172" v="2039" actId="1036"/>
        <pc:sldMkLst>
          <pc:docMk/>
          <pc:sldMk cId="767093200" sldId="1406"/>
        </pc:sldMkLst>
        <pc:spChg chg="mod ord">
          <ac:chgData name="Krishna  Patel" userId="ed2200d0-4eed-40c6-ab36-78bc62005773" providerId="ADAL" clId="{7B184F28-718E-4974-B93F-601DFC94A538}" dt="2025-06-13T13:15:33.280" v="1954" actId="700"/>
          <ac:spMkLst>
            <pc:docMk/>
            <pc:sldMk cId="767093200" sldId="1406"/>
            <ac:spMk id="2" creationId="{DCC6F8AA-515A-0107-2587-3680FE510DA2}"/>
          </ac:spMkLst>
        </pc:spChg>
        <pc:spChg chg="mod">
          <ac:chgData name="Krishna  Patel" userId="ed2200d0-4eed-40c6-ab36-78bc62005773" providerId="ADAL" clId="{7B184F28-718E-4974-B93F-601DFC94A538}" dt="2025-06-13T13:16:15.342" v="1961" actId="14100"/>
          <ac:spMkLst>
            <pc:docMk/>
            <pc:sldMk cId="767093200" sldId="1406"/>
            <ac:spMk id="3" creationId="{76BFB7DC-8B74-47AD-0063-FC6A7F5FBF89}"/>
          </ac:spMkLst>
        </pc:spChg>
        <pc:spChg chg="mod">
          <ac:chgData name="Krishna  Patel" userId="ed2200d0-4eed-40c6-ab36-78bc62005773" providerId="ADAL" clId="{7B184F28-718E-4974-B93F-601DFC94A538}" dt="2025-06-13T13:18:00.127" v="1993" actId="1076"/>
          <ac:spMkLst>
            <pc:docMk/>
            <pc:sldMk cId="767093200" sldId="1406"/>
            <ac:spMk id="4" creationId="{AB5A6340-3E8C-7AB4-8E24-319C96FD9EBB}"/>
          </ac:spMkLst>
        </pc:spChg>
        <pc:spChg chg="mod">
          <ac:chgData name="Krishna  Patel" userId="ed2200d0-4eed-40c6-ab36-78bc62005773" providerId="ADAL" clId="{7B184F28-718E-4974-B93F-601DFC94A538}" dt="2025-06-13T13:15:56.805" v="1959" actId="403"/>
          <ac:spMkLst>
            <pc:docMk/>
            <pc:sldMk cId="767093200" sldId="1406"/>
            <ac:spMk id="6" creationId="{EDBA6B79-16F7-1D80-6293-0AB36935FFA6}"/>
          </ac:spMkLst>
        </pc:spChg>
        <pc:spChg chg="mod">
          <ac:chgData name="Krishna  Patel" userId="ed2200d0-4eed-40c6-ab36-78bc62005773" providerId="ADAL" clId="{7B184F28-718E-4974-B93F-601DFC94A538}" dt="2025-06-13T13:18:20.091" v="1998" actId="12"/>
          <ac:spMkLst>
            <pc:docMk/>
            <pc:sldMk cId="767093200" sldId="1406"/>
            <ac:spMk id="7" creationId="{7D05CF39-147B-B89E-B821-C8605F9C298B}"/>
          </ac:spMkLst>
        </pc:spChg>
        <pc:spChg chg="mod">
          <ac:chgData name="Krishna  Patel" userId="ed2200d0-4eed-40c6-ab36-78bc62005773" providerId="ADAL" clId="{7B184F28-718E-4974-B93F-601DFC94A538}" dt="2025-06-13T13:18:45.391" v="2005" actId="14100"/>
          <ac:spMkLst>
            <pc:docMk/>
            <pc:sldMk cId="767093200" sldId="1406"/>
            <ac:spMk id="8" creationId="{DA9D6749-8980-B90D-0A9C-0B22CB2D0AFD}"/>
          </ac:spMkLst>
        </pc:spChg>
        <pc:spChg chg="mod">
          <ac:chgData name="Krishna  Patel" userId="ed2200d0-4eed-40c6-ab36-78bc62005773" providerId="ADAL" clId="{7B184F28-718E-4974-B93F-601DFC94A538}" dt="2025-06-13T13:20:19.624" v="2024" actId="2710"/>
          <ac:spMkLst>
            <pc:docMk/>
            <pc:sldMk cId="767093200" sldId="1406"/>
            <ac:spMk id="10" creationId="{18B2C4D6-10A8-8CBA-0668-24A72CF8A4EA}"/>
          </ac:spMkLst>
        </pc:spChg>
        <pc:spChg chg="mod">
          <ac:chgData name="Krishna  Patel" userId="ed2200d0-4eed-40c6-ab36-78bc62005773" providerId="ADAL" clId="{7B184F28-718E-4974-B93F-601DFC94A538}" dt="2025-06-13T13:16:43.981" v="1968" actId="21"/>
          <ac:spMkLst>
            <pc:docMk/>
            <pc:sldMk cId="767093200" sldId="1406"/>
            <ac:spMk id="11" creationId="{17FD6D6A-32B5-6D3F-7F1B-661D659A2332}"/>
          </ac:spMkLst>
        </pc:spChg>
        <pc:spChg chg="mod">
          <ac:chgData name="Krishna  Patel" userId="ed2200d0-4eed-40c6-ab36-78bc62005773" providerId="ADAL" clId="{7B184F28-718E-4974-B93F-601DFC94A538}" dt="2025-06-13T13:20:19.624" v="2024" actId="2710"/>
          <ac:spMkLst>
            <pc:docMk/>
            <pc:sldMk cId="767093200" sldId="1406"/>
            <ac:spMk id="13" creationId="{54256C06-76AB-99DB-23C8-1673B56A1B13}"/>
          </ac:spMkLst>
        </pc:spChg>
        <pc:spChg chg="mod">
          <ac:chgData name="Krishna  Patel" userId="ed2200d0-4eed-40c6-ab36-78bc62005773" providerId="ADAL" clId="{7B184F28-718E-4974-B93F-601DFC94A538}" dt="2025-06-13T13:16:52.975" v="1972" actId="21"/>
          <ac:spMkLst>
            <pc:docMk/>
            <pc:sldMk cId="767093200" sldId="1406"/>
            <ac:spMk id="14" creationId="{7CC4F909-B328-F1EB-2667-1CC0AD1A637A}"/>
          </ac:spMkLst>
        </pc:spChg>
        <pc:spChg chg="mod">
          <ac:chgData name="Krishna  Patel" userId="ed2200d0-4eed-40c6-ab36-78bc62005773" providerId="ADAL" clId="{7B184F28-718E-4974-B93F-601DFC94A538}" dt="2025-06-13T13:20:19.624" v="2024" actId="2710"/>
          <ac:spMkLst>
            <pc:docMk/>
            <pc:sldMk cId="767093200" sldId="1406"/>
            <ac:spMk id="16" creationId="{2B68722F-8ECC-B75F-9B8D-8C7702B6FECC}"/>
          </ac:spMkLst>
        </pc:spChg>
        <pc:spChg chg="mod">
          <ac:chgData name="Krishna  Patel" userId="ed2200d0-4eed-40c6-ab36-78bc62005773" providerId="ADAL" clId="{7B184F28-718E-4974-B93F-601DFC94A538}" dt="2025-06-13T13:17:03.234" v="1976" actId="21"/>
          <ac:spMkLst>
            <pc:docMk/>
            <pc:sldMk cId="767093200" sldId="1406"/>
            <ac:spMk id="17" creationId="{2DCEBCD8-1526-3ED3-E82A-26AFB5B5D5D6}"/>
          </ac:spMkLst>
        </pc:spChg>
        <pc:spChg chg="mod">
          <ac:chgData name="Krishna  Patel" userId="ed2200d0-4eed-40c6-ab36-78bc62005773" providerId="ADAL" clId="{7B184F28-718E-4974-B93F-601DFC94A538}" dt="2025-06-13T13:18:21.110" v="1999" actId="1076"/>
          <ac:spMkLst>
            <pc:docMk/>
            <pc:sldMk cId="767093200" sldId="1406"/>
            <ac:spMk id="18" creationId="{BC482D51-05BA-44EA-648D-7CA7578882B7}"/>
          </ac:spMkLst>
        </pc:spChg>
        <pc:spChg chg="mod">
          <ac:chgData name="Krishna  Patel" userId="ed2200d0-4eed-40c6-ab36-78bc62005773" providerId="ADAL" clId="{7B184F28-718E-4974-B93F-601DFC94A538}" dt="2025-06-13T13:18:04.271" v="1994" actId="1076"/>
          <ac:spMkLst>
            <pc:docMk/>
            <pc:sldMk cId="767093200" sldId="1406"/>
            <ac:spMk id="19" creationId="{D88BD6C1-63A5-10A5-975B-B7E16E973DCE}"/>
          </ac:spMkLst>
        </pc:spChg>
        <pc:spChg chg="mod">
          <ac:chgData name="Krishna  Patel" userId="ed2200d0-4eed-40c6-ab36-78bc62005773" providerId="ADAL" clId="{7B184F28-718E-4974-B93F-601DFC94A538}" dt="2025-06-13T13:18:28.769" v="2001" actId="14100"/>
          <ac:spMkLst>
            <pc:docMk/>
            <pc:sldMk cId="767093200" sldId="1406"/>
            <ac:spMk id="20" creationId="{B81AE9D3-7930-B616-A69F-6E3AAC2E9767}"/>
          </ac:spMkLst>
        </pc:spChg>
        <pc:spChg chg="mod">
          <ac:chgData name="Krishna  Patel" userId="ed2200d0-4eed-40c6-ab36-78bc62005773" providerId="ADAL" clId="{7B184F28-718E-4974-B93F-601DFC94A538}" dt="2025-06-13T13:19:01.008" v="2009" actId="14100"/>
          <ac:spMkLst>
            <pc:docMk/>
            <pc:sldMk cId="767093200" sldId="1406"/>
            <ac:spMk id="21" creationId="{6E4BED46-8B22-8874-11A8-9097D4D68640}"/>
          </ac:spMkLst>
        </pc:spChg>
        <pc:spChg chg="mod">
          <ac:chgData name="Krishna  Patel" userId="ed2200d0-4eed-40c6-ab36-78bc62005773" providerId="ADAL" clId="{7B184F28-718E-4974-B93F-601DFC94A538}" dt="2025-06-13T13:20:45.172" v="2039" actId="1036"/>
          <ac:spMkLst>
            <pc:docMk/>
            <pc:sldMk cId="767093200" sldId="1406"/>
            <ac:spMk id="23" creationId="{7F525538-456B-4DD2-AFED-8BF33038476C}"/>
          </ac:spMkLst>
        </pc:spChg>
        <pc:spChg chg="mod ord">
          <ac:chgData name="Krishna  Patel" userId="ed2200d0-4eed-40c6-ab36-78bc62005773" providerId="ADAL" clId="{7B184F28-718E-4974-B93F-601DFC94A538}" dt="2025-06-13T13:15:33.280" v="1954" actId="700"/>
          <ac:spMkLst>
            <pc:docMk/>
            <pc:sldMk cId="767093200" sldId="1406"/>
            <ac:spMk id="24" creationId="{BAC18EEB-5F28-89A2-9E56-2052A7521ACD}"/>
          </ac:spMkLst>
        </pc:spChg>
        <pc:spChg chg="mod ord">
          <ac:chgData name="Krishna  Patel" userId="ed2200d0-4eed-40c6-ab36-78bc62005773" providerId="ADAL" clId="{7B184F28-718E-4974-B93F-601DFC94A538}" dt="2025-06-13T13:15:33.280" v="1954" actId="700"/>
          <ac:spMkLst>
            <pc:docMk/>
            <pc:sldMk cId="767093200" sldId="1406"/>
            <ac:spMk id="25" creationId="{14ADF6E2-E2D0-3F04-A78F-BAA4128C19D5}"/>
          </ac:spMkLst>
        </pc:spChg>
        <pc:spChg chg="mod">
          <ac:chgData name="Krishna  Patel" userId="ed2200d0-4eed-40c6-ab36-78bc62005773" providerId="ADAL" clId="{7B184F28-718E-4974-B93F-601DFC94A538}" dt="2025-06-13T13:19:20.659" v="2012" actId="12"/>
          <ac:spMkLst>
            <pc:docMk/>
            <pc:sldMk cId="767093200" sldId="1406"/>
            <ac:spMk id="36" creationId="{187B4653-3971-A029-2D76-09528D3EA77E}"/>
          </ac:spMkLst>
        </pc:spChg>
        <pc:spChg chg="mod">
          <ac:chgData name="Krishna  Patel" userId="ed2200d0-4eed-40c6-ab36-78bc62005773" providerId="ADAL" clId="{7B184F28-718E-4974-B93F-601DFC94A538}" dt="2025-06-13T13:20:45.172" v="2039" actId="1036"/>
          <ac:spMkLst>
            <pc:docMk/>
            <pc:sldMk cId="767093200" sldId="1406"/>
            <ac:spMk id="38" creationId="{BAFA2A79-558F-5B7E-3497-3D35C601E580}"/>
          </ac:spMkLst>
        </pc:spChg>
        <pc:spChg chg="mod">
          <ac:chgData name="Krishna  Patel" userId="ed2200d0-4eed-40c6-ab36-78bc62005773" providerId="ADAL" clId="{7B184F28-718E-4974-B93F-601DFC94A538}" dt="2025-06-13T13:19:20.659" v="2012" actId="12"/>
          <ac:spMkLst>
            <pc:docMk/>
            <pc:sldMk cId="767093200" sldId="1406"/>
            <ac:spMk id="39" creationId="{75578027-6CBE-CFC6-1CFD-B7A703471D9E}"/>
          </ac:spMkLst>
        </pc:spChg>
        <pc:spChg chg="mod">
          <ac:chgData name="Krishna  Patel" userId="ed2200d0-4eed-40c6-ab36-78bc62005773" providerId="ADAL" clId="{7B184F28-718E-4974-B93F-601DFC94A538}" dt="2025-06-13T13:20:45.172" v="2039" actId="1036"/>
          <ac:spMkLst>
            <pc:docMk/>
            <pc:sldMk cId="767093200" sldId="1406"/>
            <ac:spMk id="41" creationId="{BAACA959-DE88-9AFC-A9DF-95C346E3CF47}"/>
          </ac:spMkLst>
        </pc:spChg>
        <pc:spChg chg="mod">
          <ac:chgData name="Krishna  Patel" userId="ed2200d0-4eed-40c6-ab36-78bc62005773" providerId="ADAL" clId="{7B184F28-718E-4974-B93F-601DFC94A538}" dt="2025-06-13T13:19:20.659" v="2012" actId="12"/>
          <ac:spMkLst>
            <pc:docMk/>
            <pc:sldMk cId="767093200" sldId="1406"/>
            <ac:spMk id="42" creationId="{DD33F67C-1BE3-03BD-08B2-AA1531ED4602}"/>
          </ac:spMkLst>
        </pc:spChg>
      </pc:sldChg>
      <pc:sldChg chg="addSp delSp modSp mod modClrScheme chgLayout">
        <pc:chgData name="Krishna  Patel" userId="ed2200d0-4eed-40c6-ab36-78bc62005773" providerId="ADAL" clId="{7B184F28-718E-4974-B93F-601DFC94A538}" dt="2025-06-13T13:40:29.348" v="2216" actId="1035"/>
        <pc:sldMkLst>
          <pc:docMk/>
          <pc:sldMk cId="4031355153" sldId="1407"/>
        </pc:sldMkLst>
        <pc:spChg chg="mod ord">
          <ac:chgData name="Krishna  Patel" userId="ed2200d0-4eed-40c6-ab36-78bc62005773" providerId="ADAL" clId="{7B184F28-718E-4974-B93F-601DFC94A538}" dt="2025-06-13T13:32:31.874" v="2134" actId="700"/>
          <ac:spMkLst>
            <pc:docMk/>
            <pc:sldMk cId="4031355153" sldId="1407"/>
            <ac:spMk id="2" creationId="{401E0793-1959-FBD3-0004-B39291841520}"/>
          </ac:spMkLst>
        </pc:spChg>
        <pc:spChg chg="mod ord">
          <ac:chgData name="Krishna  Patel" userId="ed2200d0-4eed-40c6-ab36-78bc62005773" providerId="ADAL" clId="{7B184F28-718E-4974-B93F-601DFC94A538}" dt="2025-06-13T13:32:31.874" v="2134" actId="700"/>
          <ac:spMkLst>
            <pc:docMk/>
            <pc:sldMk cId="4031355153" sldId="1407"/>
            <ac:spMk id="3" creationId="{81AF9228-77BA-D49A-02D2-03C88905DD7F}"/>
          </ac:spMkLst>
        </pc:spChg>
        <pc:spChg chg="mod ord">
          <ac:chgData name="Krishna  Patel" userId="ed2200d0-4eed-40c6-ab36-78bc62005773" providerId="ADAL" clId="{7B184F28-718E-4974-B93F-601DFC94A538}" dt="2025-06-13T13:32:31.874" v="2134" actId="700"/>
          <ac:spMkLst>
            <pc:docMk/>
            <pc:sldMk cId="4031355153" sldId="1407"/>
            <ac:spMk id="4" creationId="{D14397EC-EC1C-6A50-F4D0-03CF8A72FE05}"/>
          </ac:spMkLst>
        </pc:spChg>
        <pc:spChg chg="add mod">
          <ac:chgData name="Krishna  Patel" userId="ed2200d0-4eed-40c6-ab36-78bc62005773" providerId="ADAL" clId="{7B184F28-718E-4974-B93F-601DFC94A538}" dt="2025-06-13T13:30:54.965" v="2132"/>
          <ac:spMkLst>
            <pc:docMk/>
            <pc:sldMk cId="4031355153" sldId="1407"/>
            <ac:spMk id="5" creationId="{41FE98D1-7146-1740-7833-1570FEEA1C49}"/>
          </ac:spMkLst>
        </pc:spChg>
        <pc:spChg chg="del mod ord">
          <ac:chgData name="Krishna  Patel" userId="ed2200d0-4eed-40c6-ab36-78bc62005773" providerId="ADAL" clId="{7B184F28-718E-4974-B93F-601DFC94A538}" dt="2025-06-13T13:38:06.351" v="2175" actId="167"/>
          <ac:spMkLst>
            <pc:docMk/>
            <pc:sldMk cId="4031355153" sldId="1407"/>
            <ac:spMk id="7" creationId="{C9270055-A479-BB12-C076-3ED1775D8CE6}"/>
          </ac:spMkLst>
        </pc:spChg>
        <pc:spChg chg="mod">
          <ac:chgData name="Krishna  Patel" userId="ed2200d0-4eed-40c6-ab36-78bc62005773" providerId="ADAL" clId="{7B184F28-718E-4974-B93F-601DFC94A538}" dt="2025-06-13T13:36:24.662" v="2158" actId="1076"/>
          <ac:spMkLst>
            <pc:docMk/>
            <pc:sldMk cId="4031355153" sldId="1407"/>
            <ac:spMk id="8" creationId="{969B27D4-16A5-126D-11D0-237F7D27C279}"/>
          </ac:spMkLst>
        </pc:spChg>
        <pc:spChg chg="mod">
          <ac:chgData name="Krishna  Patel" userId="ed2200d0-4eed-40c6-ab36-78bc62005773" providerId="ADAL" clId="{7B184F28-718E-4974-B93F-601DFC94A538}" dt="2025-06-13T13:37:03.688" v="2166" actId="1076"/>
          <ac:spMkLst>
            <pc:docMk/>
            <pc:sldMk cId="4031355153" sldId="1407"/>
            <ac:spMk id="9" creationId="{BD42ED69-5C9C-CAEF-6D68-F81469F2D284}"/>
          </ac:spMkLst>
        </pc:spChg>
        <pc:spChg chg="mod">
          <ac:chgData name="Krishna  Patel" userId="ed2200d0-4eed-40c6-ab36-78bc62005773" providerId="ADAL" clId="{7B184F28-718E-4974-B93F-601DFC94A538}" dt="2025-06-13T13:40:29.348" v="2216" actId="1035"/>
          <ac:spMkLst>
            <pc:docMk/>
            <pc:sldMk cId="4031355153" sldId="1407"/>
            <ac:spMk id="12" creationId="{54C38008-8C8C-5EF6-FF4E-60CCB59844AE}"/>
          </ac:spMkLst>
        </pc:spChg>
        <pc:spChg chg="mod">
          <ac:chgData name="Krishna  Patel" userId="ed2200d0-4eed-40c6-ab36-78bc62005773" providerId="ADAL" clId="{7B184F28-718E-4974-B93F-601DFC94A538}" dt="2025-06-13T13:38:27.416" v="2180" actId="21"/>
          <ac:spMkLst>
            <pc:docMk/>
            <pc:sldMk cId="4031355153" sldId="1407"/>
            <ac:spMk id="13" creationId="{D10B870E-A7EE-D17C-27DA-41BBC623BFB2}"/>
          </ac:spMkLst>
        </pc:spChg>
        <pc:spChg chg="mod">
          <ac:chgData name="Krishna  Patel" userId="ed2200d0-4eed-40c6-ab36-78bc62005773" providerId="ADAL" clId="{7B184F28-718E-4974-B93F-601DFC94A538}" dt="2025-06-13T13:40:29.348" v="2216" actId="1035"/>
          <ac:spMkLst>
            <pc:docMk/>
            <pc:sldMk cId="4031355153" sldId="1407"/>
            <ac:spMk id="15" creationId="{88CC4477-9CB7-1C86-A317-A794A031ABA5}"/>
          </ac:spMkLst>
        </pc:spChg>
        <pc:spChg chg="mod">
          <ac:chgData name="Krishna  Patel" userId="ed2200d0-4eed-40c6-ab36-78bc62005773" providerId="ADAL" clId="{7B184F28-718E-4974-B93F-601DFC94A538}" dt="2025-06-13T13:38:39.435" v="2185" actId="21"/>
          <ac:spMkLst>
            <pc:docMk/>
            <pc:sldMk cId="4031355153" sldId="1407"/>
            <ac:spMk id="16" creationId="{3BF03EF1-7B18-8011-DEF6-B40E5EDC4448}"/>
          </ac:spMkLst>
        </pc:spChg>
        <pc:spChg chg="mod">
          <ac:chgData name="Krishna  Patel" userId="ed2200d0-4eed-40c6-ab36-78bc62005773" providerId="ADAL" clId="{7B184F28-718E-4974-B93F-601DFC94A538}" dt="2025-06-13T13:40:29.348" v="2216" actId="1035"/>
          <ac:spMkLst>
            <pc:docMk/>
            <pc:sldMk cId="4031355153" sldId="1407"/>
            <ac:spMk id="18" creationId="{491F3F00-3CA3-2B04-F333-F8D165F26D49}"/>
          </ac:spMkLst>
        </pc:spChg>
        <pc:spChg chg="mod">
          <ac:chgData name="Krishna  Patel" userId="ed2200d0-4eed-40c6-ab36-78bc62005773" providerId="ADAL" clId="{7B184F28-718E-4974-B93F-601DFC94A538}" dt="2025-06-13T13:38:49.621" v="2190" actId="21"/>
          <ac:spMkLst>
            <pc:docMk/>
            <pc:sldMk cId="4031355153" sldId="1407"/>
            <ac:spMk id="19" creationId="{5F07D630-B207-8FBC-D850-E19D1775FD5E}"/>
          </ac:spMkLst>
        </pc:spChg>
        <pc:spChg chg="mod ord">
          <ac:chgData name="Krishna  Patel" userId="ed2200d0-4eed-40c6-ab36-78bc62005773" providerId="ADAL" clId="{7B184F28-718E-4974-B93F-601DFC94A538}" dt="2025-06-13T13:38:06.351" v="2175" actId="167"/>
          <ac:spMkLst>
            <pc:docMk/>
            <pc:sldMk cId="4031355153" sldId="1407"/>
            <ac:spMk id="20" creationId="{F45FCD83-CC0A-8728-30B8-D03960CA54F7}"/>
          </ac:spMkLst>
        </pc:spChg>
        <pc:spChg chg="mod">
          <ac:chgData name="Krishna  Patel" userId="ed2200d0-4eed-40c6-ab36-78bc62005773" providerId="ADAL" clId="{7B184F28-718E-4974-B93F-601DFC94A538}" dt="2025-06-13T13:35:44.294" v="2156" actId="1076"/>
          <ac:spMkLst>
            <pc:docMk/>
            <pc:sldMk cId="4031355153" sldId="1407"/>
            <ac:spMk id="21" creationId="{1FBFF00A-1EEE-C6E6-4A02-2D80600AB0CB}"/>
          </ac:spMkLst>
        </pc:spChg>
        <pc:spChg chg="mod">
          <ac:chgData name="Krishna  Patel" userId="ed2200d0-4eed-40c6-ab36-78bc62005773" providerId="ADAL" clId="{7B184F28-718E-4974-B93F-601DFC94A538}" dt="2025-06-13T13:36:59.004" v="2165" actId="14100"/>
          <ac:spMkLst>
            <pc:docMk/>
            <pc:sldMk cId="4031355153" sldId="1407"/>
            <ac:spMk id="22" creationId="{0A1AACD9-EA29-8AA4-D464-62DA16BF307A}"/>
          </ac:spMkLst>
        </pc:spChg>
        <pc:spChg chg="add mod ord">
          <ac:chgData name="Krishna  Patel" userId="ed2200d0-4eed-40c6-ab36-78bc62005773" providerId="ADAL" clId="{7B184F28-718E-4974-B93F-601DFC94A538}" dt="2025-06-13T13:37:57.274" v="2174" actId="167"/>
          <ac:spMkLst>
            <pc:docMk/>
            <pc:sldMk cId="4031355153" sldId="1407"/>
            <ac:spMk id="26" creationId="{6D424631-26F6-C3BF-C35B-E38A25975922}"/>
          </ac:spMkLst>
        </pc:spChg>
        <pc:spChg chg="add mod ord">
          <ac:chgData name="Krishna  Patel" userId="ed2200d0-4eed-40c6-ab36-78bc62005773" providerId="ADAL" clId="{7B184F28-718E-4974-B93F-601DFC94A538}" dt="2025-06-13T13:37:57.274" v="2174" actId="167"/>
          <ac:spMkLst>
            <pc:docMk/>
            <pc:sldMk cId="4031355153" sldId="1407"/>
            <ac:spMk id="27" creationId="{94121525-79AD-7525-5876-5ECE835EAC7C}"/>
          </ac:spMkLst>
        </pc:spChg>
        <pc:spChg chg="mod">
          <ac:chgData name="Krishna  Patel" userId="ed2200d0-4eed-40c6-ab36-78bc62005773" providerId="ADAL" clId="{7B184F28-718E-4974-B93F-601DFC94A538}" dt="2025-06-13T13:40:22.310" v="2208" actId="2710"/>
          <ac:spMkLst>
            <pc:docMk/>
            <pc:sldMk cId="4031355153" sldId="1407"/>
            <ac:spMk id="37" creationId="{B451DFBC-6207-521D-A637-3B67B8E1A499}"/>
          </ac:spMkLst>
        </pc:spChg>
        <pc:spChg chg="mod">
          <ac:chgData name="Krishna  Patel" userId="ed2200d0-4eed-40c6-ab36-78bc62005773" providerId="ADAL" clId="{7B184F28-718E-4974-B93F-601DFC94A538}" dt="2025-06-13T13:33:55.167" v="2144" actId="21"/>
          <ac:spMkLst>
            <pc:docMk/>
            <pc:sldMk cId="4031355153" sldId="1407"/>
            <ac:spMk id="38" creationId="{928C2546-7BBA-E10E-A713-37B3BA312798}"/>
          </ac:spMkLst>
        </pc:spChg>
        <pc:spChg chg="mod">
          <ac:chgData name="Krishna  Patel" userId="ed2200d0-4eed-40c6-ab36-78bc62005773" providerId="ADAL" clId="{7B184F28-718E-4974-B93F-601DFC94A538}" dt="2025-06-13T13:40:22.310" v="2208" actId="2710"/>
          <ac:spMkLst>
            <pc:docMk/>
            <pc:sldMk cId="4031355153" sldId="1407"/>
            <ac:spMk id="40" creationId="{1C121322-5260-23E9-A456-FFD42133322D}"/>
          </ac:spMkLst>
        </pc:spChg>
        <pc:spChg chg="mod">
          <ac:chgData name="Krishna  Patel" userId="ed2200d0-4eed-40c6-ab36-78bc62005773" providerId="ADAL" clId="{7B184F28-718E-4974-B93F-601DFC94A538}" dt="2025-06-13T13:34:18.438" v="2148" actId="21"/>
          <ac:spMkLst>
            <pc:docMk/>
            <pc:sldMk cId="4031355153" sldId="1407"/>
            <ac:spMk id="41" creationId="{2FFCB2B7-3B42-7FE5-0525-EBD11F9CB0BE}"/>
          </ac:spMkLst>
        </pc:spChg>
        <pc:spChg chg="mod">
          <ac:chgData name="Krishna  Patel" userId="ed2200d0-4eed-40c6-ab36-78bc62005773" providerId="ADAL" clId="{7B184F28-718E-4974-B93F-601DFC94A538}" dt="2025-06-13T13:40:22.310" v="2208" actId="2710"/>
          <ac:spMkLst>
            <pc:docMk/>
            <pc:sldMk cId="4031355153" sldId="1407"/>
            <ac:spMk id="43" creationId="{D81E1F52-81C4-0FA4-7F5A-B2702464248F}"/>
          </ac:spMkLst>
        </pc:spChg>
        <pc:spChg chg="mod">
          <ac:chgData name="Krishna  Patel" userId="ed2200d0-4eed-40c6-ab36-78bc62005773" providerId="ADAL" clId="{7B184F28-718E-4974-B93F-601DFC94A538}" dt="2025-06-13T13:34:54.522" v="2152" actId="21"/>
          <ac:spMkLst>
            <pc:docMk/>
            <pc:sldMk cId="4031355153" sldId="1407"/>
            <ac:spMk id="44" creationId="{5F9868CA-D8D2-4604-D1BC-49240AC162A9}"/>
          </ac:spMkLst>
        </pc:spChg>
      </pc:sldChg>
      <pc:sldChg chg="addSp delSp modSp mod modClrScheme chgLayout">
        <pc:chgData name="Krishna  Patel" userId="ed2200d0-4eed-40c6-ab36-78bc62005773" providerId="ADAL" clId="{7B184F28-718E-4974-B93F-601DFC94A538}" dt="2025-06-13T13:15:01.867" v="1953" actId="2710"/>
        <pc:sldMkLst>
          <pc:docMk/>
          <pc:sldMk cId="1180124282" sldId="1409"/>
        </pc:sldMkLst>
        <pc:spChg chg="mod ord">
          <ac:chgData name="Krishna  Patel" userId="ed2200d0-4eed-40c6-ab36-78bc62005773" providerId="ADAL" clId="{7B184F28-718E-4974-B93F-601DFC94A538}" dt="2025-06-13T13:10:59.799" v="1844" actId="700"/>
          <ac:spMkLst>
            <pc:docMk/>
            <pc:sldMk cId="1180124282" sldId="1409"/>
            <ac:spMk id="2" creationId="{C6242FA0-BE29-FE65-E745-3629ADD2EB53}"/>
          </ac:spMkLst>
        </pc:spChg>
        <pc:spChg chg="add mod ord">
          <ac:chgData name="Krishna  Patel" userId="ed2200d0-4eed-40c6-ab36-78bc62005773" providerId="ADAL" clId="{7B184F28-718E-4974-B93F-601DFC94A538}" dt="2025-06-13T13:12:11.839" v="1875" actId="1036"/>
          <ac:spMkLst>
            <pc:docMk/>
            <pc:sldMk cId="1180124282" sldId="1409"/>
            <ac:spMk id="10" creationId="{4E85ED35-6489-BB21-CB0C-C7C27458AF1B}"/>
          </ac:spMkLst>
        </pc:spChg>
        <pc:spChg chg="add mod">
          <ac:chgData name="Krishna  Patel" userId="ed2200d0-4eed-40c6-ab36-78bc62005773" providerId="ADAL" clId="{7B184F28-718E-4974-B93F-601DFC94A538}" dt="2025-06-13T13:12:11.839" v="1875" actId="1036"/>
          <ac:spMkLst>
            <pc:docMk/>
            <pc:sldMk cId="1180124282" sldId="1409"/>
            <ac:spMk id="11" creationId="{6DB7E5FD-633E-C6A5-730B-E16D5E9F0283}"/>
          </ac:spMkLst>
        </pc:spChg>
        <pc:spChg chg="add mod ord">
          <ac:chgData name="Krishna  Patel" userId="ed2200d0-4eed-40c6-ab36-78bc62005773" providerId="ADAL" clId="{7B184F28-718E-4974-B93F-601DFC94A538}" dt="2025-06-13T13:11:08.316" v="1848" actId="20577"/>
          <ac:spMkLst>
            <pc:docMk/>
            <pc:sldMk cId="1180124282" sldId="1409"/>
            <ac:spMk id="12" creationId="{BC24B3D2-B22E-3C74-98E7-F3E9A8DC3F3A}"/>
          </ac:spMkLst>
        </pc:spChg>
        <pc:spChg chg="add mod ord">
          <ac:chgData name="Krishna  Patel" userId="ed2200d0-4eed-40c6-ab36-78bc62005773" providerId="ADAL" clId="{7B184F28-718E-4974-B93F-601DFC94A538}" dt="2025-06-13T13:15:01.867" v="1953" actId="2710"/>
          <ac:spMkLst>
            <pc:docMk/>
            <pc:sldMk cId="1180124282" sldId="1409"/>
            <ac:spMk id="13" creationId="{31AEA88F-AEE2-147D-673A-B1C1F9219810}"/>
          </ac:spMkLst>
        </pc:spChg>
        <pc:spChg chg="mod">
          <ac:chgData name="Krishna  Patel" userId="ed2200d0-4eed-40c6-ab36-78bc62005773" providerId="ADAL" clId="{7B184F28-718E-4974-B93F-601DFC94A538}" dt="2025-06-13T13:11:03.863" v="1845" actId="21"/>
          <ac:spMkLst>
            <pc:docMk/>
            <pc:sldMk cId="1180124282" sldId="1409"/>
            <ac:spMk id="24" creationId="{AF8F080C-A1D4-9432-DBFC-3372BCC72BA5}"/>
          </ac:spMkLst>
        </pc:spChg>
        <pc:spChg chg="mod">
          <ac:chgData name="Krishna  Patel" userId="ed2200d0-4eed-40c6-ab36-78bc62005773" providerId="ADAL" clId="{7B184F28-718E-4974-B93F-601DFC94A538}" dt="2025-06-13T13:11:11.046" v="1849" actId="15"/>
          <ac:spMkLst>
            <pc:docMk/>
            <pc:sldMk cId="1180124282" sldId="1409"/>
            <ac:spMk id="25" creationId="{C8A189D6-3565-5431-5D62-978E2B355E99}"/>
          </ac:spMkLst>
        </pc:spChg>
        <pc:spChg chg="mod">
          <ac:chgData name="Krishna  Patel" userId="ed2200d0-4eed-40c6-ab36-78bc62005773" providerId="ADAL" clId="{7B184F28-718E-4974-B93F-601DFC94A538}" dt="2025-06-13T13:11:16.354" v="1850" actId="21"/>
          <ac:spMkLst>
            <pc:docMk/>
            <pc:sldMk cId="1180124282" sldId="1409"/>
            <ac:spMk id="27" creationId="{43234940-0A07-55EA-319F-4F0D94ACEB22}"/>
          </ac:spMkLst>
        </pc:spChg>
        <pc:spChg chg="mod topLvl">
          <ac:chgData name="Krishna  Patel" userId="ed2200d0-4eed-40c6-ab36-78bc62005773" providerId="ADAL" clId="{7B184F28-718E-4974-B93F-601DFC94A538}" dt="2025-06-13T13:11:51.512" v="1859" actId="165"/>
          <ac:spMkLst>
            <pc:docMk/>
            <pc:sldMk cId="1180124282" sldId="1409"/>
            <ac:spMk id="30" creationId="{6B53DF67-6D95-C1CA-7912-2D647BC02437}"/>
          </ac:spMkLst>
        </pc:spChg>
        <pc:spChg chg="mod topLvl">
          <ac:chgData name="Krishna  Patel" userId="ed2200d0-4eed-40c6-ab36-78bc62005773" providerId="ADAL" clId="{7B184F28-718E-4974-B93F-601DFC94A538}" dt="2025-06-13T13:14:24.339" v="1939" actId="21"/>
          <ac:spMkLst>
            <pc:docMk/>
            <pc:sldMk cId="1180124282" sldId="1409"/>
            <ac:spMk id="32" creationId="{C1A7304E-8A3E-4873-FBC2-8552F6412410}"/>
          </ac:spMkLst>
        </pc:spChg>
        <pc:spChg chg="mod topLvl">
          <ac:chgData name="Krishna  Patel" userId="ed2200d0-4eed-40c6-ab36-78bc62005773" providerId="ADAL" clId="{7B184F28-718E-4974-B93F-601DFC94A538}" dt="2025-06-13T13:12:42.190" v="1897" actId="21"/>
          <ac:spMkLst>
            <pc:docMk/>
            <pc:sldMk cId="1180124282" sldId="1409"/>
            <ac:spMk id="33" creationId="{549ADA73-FC23-6D3A-67D0-A0066DE9A5FF}"/>
          </ac:spMkLst>
        </pc:spChg>
        <pc:spChg chg="mod topLvl">
          <ac:chgData name="Krishna  Patel" userId="ed2200d0-4eed-40c6-ab36-78bc62005773" providerId="ADAL" clId="{7B184F28-718E-4974-B93F-601DFC94A538}" dt="2025-06-13T13:14:30.528" v="1941" actId="21"/>
          <ac:spMkLst>
            <pc:docMk/>
            <pc:sldMk cId="1180124282" sldId="1409"/>
            <ac:spMk id="35" creationId="{837655AB-43A6-89F4-3D3A-4A4FCA34D195}"/>
          </ac:spMkLst>
        </pc:spChg>
        <pc:spChg chg="mod topLvl">
          <ac:chgData name="Krishna  Patel" userId="ed2200d0-4eed-40c6-ab36-78bc62005773" providerId="ADAL" clId="{7B184F28-718E-4974-B93F-601DFC94A538}" dt="2025-06-13T13:12:50.425" v="1900" actId="21"/>
          <ac:spMkLst>
            <pc:docMk/>
            <pc:sldMk cId="1180124282" sldId="1409"/>
            <ac:spMk id="43" creationId="{0B369ED7-3CBD-F044-4584-8A0178231C17}"/>
          </ac:spMkLst>
        </pc:spChg>
        <pc:spChg chg="mod topLvl">
          <ac:chgData name="Krishna  Patel" userId="ed2200d0-4eed-40c6-ab36-78bc62005773" providerId="ADAL" clId="{7B184F28-718E-4974-B93F-601DFC94A538}" dt="2025-06-13T13:14:41.005" v="1945" actId="21"/>
          <ac:spMkLst>
            <pc:docMk/>
            <pc:sldMk cId="1180124282" sldId="1409"/>
            <ac:spMk id="45" creationId="{FE2512F8-A0D9-CE53-9E15-959FBA509D5D}"/>
          </ac:spMkLst>
        </pc:spChg>
        <pc:spChg chg="mod topLvl">
          <ac:chgData name="Krishna  Patel" userId="ed2200d0-4eed-40c6-ab36-78bc62005773" providerId="ADAL" clId="{7B184F28-718E-4974-B93F-601DFC94A538}" dt="2025-06-13T13:13:09.583" v="1907" actId="1076"/>
          <ac:spMkLst>
            <pc:docMk/>
            <pc:sldMk cId="1180124282" sldId="1409"/>
            <ac:spMk id="46" creationId="{FD5C4951-B050-4270-8214-A6BBF2C65BBB}"/>
          </ac:spMkLst>
        </pc:spChg>
        <pc:spChg chg="mod topLvl">
          <ac:chgData name="Krishna  Patel" userId="ed2200d0-4eed-40c6-ab36-78bc62005773" providerId="ADAL" clId="{7B184F28-718E-4974-B93F-601DFC94A538}" dt="2025-06-13T13:14:48.203" v="1947" actId="21"/>
          <ac:spMkLst>
            <pc:docMk/>
            <pc:sldMk cId="1180124282" sldId="1409"/>
            <ac:spMk id="49" creationId="{EAE513EF-D7F8-36BA-6925-AA550BF971CE}"/>
          </ac:spMkLst>
        </pc:spChg>
        <pc:spChg chg="mod ord">
          <ac:chgData name="Krishna  Patel" userId="ed2200d0-4eed-40c6-ab36-78bc62005773" providerId="ADAL" clId="{7B184F28-718E-4974-B93F-601DFC94A538}" dt="2025-06-13T13:10:59.799" v="1844" actId="700"/>
          <ac:spMkLst>
            <pc:docMk/>
            <pc:sldMk cId="1180124282" sldId="1409"/>
            <ac:spMk id="52" creationId="{D04E12F1-F80D-28E0-EE89-278D9FF7B47E}"/>
          </ac:spMkLst>
        </pc:spChg>
        <pc:spChg chg="mod ord">
          <ac:chgData name="Krishna  Patel" userId="ed2200d0-4eed-40c6-ab36-78bc62005773" providerId="ADAL" clId="{7B184F28-718E-4974-B93F-601DFC94A538}" dt="2025-06-13T13:10:59.799" v="1844" actId="700"/>
          <ac:spMkLst>
            <pc:docMk/>
            <pc:sldMk cId="1180124282" sldId="1409"/>
            <ac:spMk id="53" creationId="{4723AA82-8B8D-947F-8D4A-3277BDE61E26}"/>
          </ac:spMkLst>
        </pc:spChg>
        <pc:picChg chg="add mod">
          <ac:chgData name="Krishna  Patel" userId="ed2200d0-4eed-40c6-ab36-78bc62005773" providerId="ADAL" clId="{7B184F28-718E-4974-B93F-601DFC94A538}" dt="2025-06-13T13:12:18.170" v="1891" actId="1036"/>
          <ac:picMkLst>
            <pc:docMk/>
            <pc:sldMk cId="1180124282" sldId="1409"/>
            <ac:picMk id="9" creationId="{C7E3AA43-6525-D8B4-642C-6D689225BF5B}"/>
          </ac:picMkLst>
        </pc:picChg>
      </pc:sldChg>
      <pc:sldChg chg="addSp delSp modSp mod">
        <pc:chgData name="Krishna  Patel" userId="ed2200d0-4eed-40c6-ab36-78bc62005773" providerId="ADAL" clId="{7B184F28-718E-4974-B93F-601DFC94A538}" dt="2025-06-13T13:10:20.230" v="1839" actId="1037"/>
        <pc:sldMkLst>
          <pc:docMk/>
          <pc:sldMk cId="490945690" sldId="1410"/>
        </pc:sldMkLst>
        <pc:spChg chg="mod">
          <ac:chgData name="Krishna  Patel" userId="ed2200d0-4eed-40c6-ab36-78bc62005773" providerId="ADAL" clId="{7B184F28-718E-4974-B93F-601DFC94A538}" dt="2025-06-13T09:24:22.861" v="168"/>
          <ac:spMkLst>
            <pc:docMk/>
            <pc:sldMk cId="490945690" sldId="1410"/>
            <ac:spMk id="3" creationId="{EA42EEBA-9E0C-5226-7CDA-3C6F6F182097}"/>
          </ac:spMkLst>
        </pc:spChg>
        <pc:spChg chg="mod">
          <ac:chgData name="Krishna  Patel" userId="ed2200d0-4eed-40c6-ab36-78bc62005773" providerId="ADAL" clId="{7B184F28-718E-4974-B93F-601DFC94A538}" dt="2025-06-13T13:10:03.271" v="1827" actId="14100"/>
          <ac:spMkLst>
            <pc:docMk/>
            <pc:sldMk cId="490945690" sldId="1410"/>
            <ac:spMk id="6" creationId="{5C739721-E4C9-3188-0F8A-EAC37105FC20}"/>
          </ac:spMkLst>
        </pc:spChg>
        <pc:spChg chg="mod">
          <ac:chgData name="Krishna  Patel" userId="ed2200d0-4eed-40c6-ab36-78bc62005773" providerId="ADAL" clId="{7B184F28-718E-4974-B93F-601DFC94A538}" dt="2025-06-13T13:09:46.179" v="1824" actId="403"/>
          <ac:spMkLst>
            <pc:docMk/>
            <pc:sldMk cId="490945690" sldId="1410"/>
            <ac:spMk id="7" creationId="{C1B130DC-1A9A-8B5D-6F38-7B60663D4785}"/>
          </ac:spMkLst>
        </pc:spChg>
        <pc:spChg chg="mod">
          <ac:chgData name="Krishna  Patel" userId="ed2200d0-4eed-40c6-ab36-78bc62005773" providerId="ADAL" clId="{7B184F28-718E-4974-B93F-601DFC94A538}" dt="2025-06-13T13:09:17.842" v="1818" actId="14100"/>
          <ac:spMkLst>
            <pc:docMk/>
            <pc:sldMk cId="490945690" sldId="1410"/>
            <ac:spMk id="9" creationId="{E1F3D18A-F015-FB0F-C7E5-6410C354582B}"/>
          </ac:spMkLst>
        </pc:spChg>
        <pc:spChg chg="mod">
          <ac:chgData name="Krishna  Patel" userId="ed2200d0-4eed-40c6-ab36-78bc62005773" providerId="ADAL" clId="{7B184F28-718E-4974-B93F-601DFC94A538}" dt="2025-06-13T13:09:38.708" v="1823" actId="1036"/>
          <ac:spMkLst>
            <pc:docMk/>
            <pc:sldMk cId="490945690" sldId="1410"/>
            <ac:spMk id="11" creationId="{5A8BA63A-403A-0BB3-0BCB-74A260A2317C}"/>
          </ac:spMkLst>
        </pc:spChg>
        <pc:spChg chg="mod">
          <ac:chgData name="Krishna  Patel" userId="ed2200d0-4eed-40c6-ab36-78bc62005773" providerId="ADAL" clId="{7B184F28-718E-4974-B93F-601DFC94A538}" dt="2025-06-13T13:09:34.719" v="1821" actId="1076"/>
          <ac:spMkLst>
            <pc:docMk/>
            <pc:sldMk cId="490945690" sldId="1410"/>
            <ac:spMk id="13" creationId="{B0074DF8-9430-8C6A-F10A-40C0219ABBC0}"/>
          </ac:spMkLst>
        </pc:spChg>
        <pc:spChg chg="mod">
          <ac:chgData name="Krishna  Patel" userId="ed2200d0-4eed-40c6-ab36-78bc62005773" providerId="ADAL" clId="{7B184F28-718E-4974-B93F-601DFC94A538}" dt="2025-06-13T13:10:20.230" v="1839" actId="1037"/>
          <ac:spMkLst>
            <pc:docMk/>
            <pc:sldMk cId="490945690" sldId="1410"/>
            <ac:spMk id="14" creationId="{17F0C8A7-8413-8480-D9BB-5F2E2032FD2E}"/>
          </ac:spMkLst>
        </pc:spChg>
        <pc:spChg chg="mod">
          <ac:chgData name="Krishna  Patel" userId="ed2200d0-4eed-40c6-ab36-78bc62005773" providerId="ADAL" clId="{7B184F28-718E-4974-B93F-601DFC94A538}" dt="2025-06-13T13:10:20.230" v="1839" actId="1037"/>
          <ac:spMkLst>
            <pc:docMk/>
            <pc:sldMk cId="490945690" sldId="1410"/>
            <ac:spMk id="15" creationId="{DFD2DB24-1F25-E4A3-BD32-C49211349DD7}"/>
          </ac:spMkLst>
        </pc:spChg>
        <pc:spChg chg="mod">
          <ac:chgData name="Krishna  Patel" userId="ed2200d0-4eed-40c6-ab36-78bc62005773" providerId="ADAL" clId="{7B184F28-718E-4974-B93F-601DFC94A538}" dt="2025-06-13T13:10:20.230" v="1839" actId="1037"/>
          <ac:spMkLst>
            <pc:docMk/>
            <pc:sldMk cId="490945690" sldId="1410"/>
            <ac:spMk id="17" creationId="{D0E6DF6E-6E5C-66A3-9E89-F0D828BB9FAE}"/>
          </ac:spMkLst>
        </pc:spChg>
        <pc:spChg chg="mod">
          <ac:chgData name="Krishna  Patel" userId="ed2200d0-4eed-40c6-ab36-78bc62005773" providerId="ADAL" clId="{7B184F28-718E-4974-B93F-601DFC94A538}" dt="2025-06-13T13:10:20.230" v="1839" actId="1037"/>
          <ac:spMkLst>
            <pc:docMk/>
            <pc:sldMk cId="490945690" sldId="1410"/>
            <ac:spMk id="19" creationId="{A550DBCD-1C3A-B3ED-9939-04428098ADA7}"/>
          </ac:spMkLst>
        </pc:spChg>
        <pc:spChg chg="mod">
          <ac:chgData name="Krishna  Patel" userId="ed2200d0-4eed-40c6-ab36-78bc62005773" providerId="ADAL" clId="{7B184F28-718E-4974-B93F-601DFC94A538}" dt="2025-06-13T13:10:20.230" v="1839" actId="1037"/>
          <ac:spMkLst>
            <pc:docMk/>
            <pc:sldMk cId="490945690" sldId="1410"/>
            <ac:spMk id="21" creationId="{4E81E792-8B47-604C-5204-A9E62424391B}"/>
          </ac:spMkLst>
        </pc:spChg>
        <pc:spChg chg="mod">
          <ac:chgData name="Krishna  Patel" userId="ed2200d0-4eed-40c6-ab36-78bc62005773" providerId="ADAL" clId="{7B184F28-718E-4974-B93F-601DFC94A538}" dt="2025-06-13T13:09:59.424" v="1826" actId="14100"/>
          <ac:spMkLst>
            <pc:docMk/>
            <pc:sldMk cId="490945690" sldId="1410"/>
            <ac:spMk id="22" creationId="{7A0D2352-4A9E-D333-3B5C-B29CCF32E3A8}"/>
          </ac:spMkLst>
        </pc:spChg>
        <pc:spChg chg="mod">
          <ac:chgData name="Krishna  Patel" userId="ed2200d0-4eed-40c6-ab36-78bc62005773" providerId="ADAL" clId="{7B184F28-718E-4974-B93F-601DFC94A538}" dt="2025-06-13T13:09:51.402" v="1825" actId="14100"/>
          <ac:spMkLst>
            <pc:docMk/>
            <pc:sldMk cId="490945690" sldId="1410"/>
            <ac:spMk id="23" creationId="{59170DBC-7956-8B32-32D8-6743EB5EE040}"/>
          </ac:spMkLst>
        </pc:spChg>
        <pc:spChg chg="add mod ord">
          <ac:chgData name="Krishna  Patel" userId="ed2200d0-4eed-40c6-ab36-78bc62005773" providerId="ADAL" clId="{7B184F28-718E-4974-B93F-601DFC94A538}" dt="2025-06-13T09:23:00.453" v="153" actId="167"/>
          <ac:spMkLst>
            <pc:docMk/>
            <pc:sldMk cId="490945690" sldId="1410"/>
            <ac:spMk id="25" creationId="{F278DE5A-7ACD-256C-0EB9-5EF82C847CD7}"/>
          </ac:spMkLst>
        </pc:spChg>
        <pc:spChg chg="add mod">
          <ac:chgData name="Krishna  Patel" userId="ed2200d0-4eed-40c6-ab36-78bc62005773" providerId="ADAL" clId="{7B184F28-718E-4974-B93F-601DFC94A538}" dt="2025-06-13T09:23:23.988" v="156" actId="1076"/>
          <ac:spMkLst>
            <pc:docMk/>
            <pc:sldMk cId="490945690" sldId="1410"/>
            <ac:spMk id="26" creationId="{B4F4D838-A30B-745C-05B2-090FD33395FB}"/>
          </ac:spMkLst>
        </pc:spChg>
        <pc:spChg chg="mod">
          <ac:chgData name="Krishna  Patel" userId="ed2200d0-4eed-40c6-ab36-78bc62005773" providerId="ADAL" clId="{7B184F28-718E-4974-B93F-601DFC94A538}" dt="2025-06-13T13:09:17.842" v="1818" actId="14100"/>
          <ac:spMkLst>
            <pc:docMk/>
            <pc:sldMk cId="490945690" sldId="1410"/>
            <ac:spMk id="37" creationId="{3171272F-2281-BDE4-68AB-DD477A38DD2D}"/>
          </ac:spMkLst>
        </pc:spChg>
        <pc:spChg chg="mod">
          <ac:chgData name="Krishna  Patel" userId="ed2200d0-4eed-40c6-ab36-78bc62005773" providerId="ADAL" clId="{7B184F28-718E-4974-B93F-601DFC94A538}" dt="2025-06-13T13:09:17.842" v="1818" actId="14100"/>
          <ac:spMkLst>
            <pc:docMk/>
            <pc:sldMk cId="490945690" sldId="1410"/>
            <ac:spMk id="39" creationId="{F227B898-8E2C-E675-4175-38EB7076BC9F}"/>
          </ac:spMkLst>
        </pc:spChg>
        <pc:spChg chg="mod">
          <ac:chgData name="Krishna  Patel" userId="ed2200d0-4eed-40c6-ab36-78bc62005773" providerId="ADAL" clId="{7B184F28-718E-4974-B93F-601DFC94A538}" dt="2025-06-13T13:09:27.328" v="1819" actId="1076"/>
          <ac:spMkLst>
            <pc:docMk/>
            <pc:sldMk cId="490945690" sldId="1410"/>
            <ac:spMk id="41" creationId="{5B48D91E-8C47-1F85-AD9C-ECD38544C50C}"/>
          </ac:spMkLst>
        </pc:spChg>
        <pc:spChg chg="mod">
          <ac:chgData name="Krishna  Patel" userId="ed2200d0-4eed-40c6-ab36-78bc62005773" providerId="ADAL" clId="{7B184F28-718E-4974-B93F-601DFC94A538}" dt="2025-06-13T13:10:20.230" v="1839" actId="1037"/>
          <ac:spMkLst>
            <pc:docMk/>
            <pc:sldMk cId="490945690" sldId="1410"/>
            <ac:spMk id="42" creationId="{52D64345-1454-D9E1-D137-40270A259AFA}"/>
          </ac:spMkLst>
        </pc:spChg>
        <pc:spChg chg="mod">
          <ac:chgData name="Krishna  Patel" userId="ed2200d0-4eed-40c6-ab36-78bc62005773" providerId="ADAL" clId="{7B184F28-718E-4974-B93F-601DFC94A538}" dt="2025-06-13T13:10:20.230" v="1839" actId="1037"/>
          <ac:spMkLst>
            <pc:docMk/>
            <pc:sldMk cId="490945690" sldId="1410"/>
            <ac:spMk id="52" creationId="{5353B06D-E460-8120-D9D4-D33B4D9BE639}"/>
          </ac:spMkLst>
        </pc:spChg>
        <pc:spChg chg="mod">
          <ac:chgData name="Krishna  Patel" userId="ed2200d0-4eed-40c6-ab36-78bc62005773" providerId="ADAL" clId="{7B184F28-718E-4974-B93F-601DFC94A538}" dt="2025-06-13T13:10:20.230" v="1839" actId="1037"/>
          <ac:spMkLst>
            <pc:docMk/>
            <pc:sldMk cId="490945690" sldId="1410"/>
            <ac:spMk id="54" creationId="{7A438370-C27E-D98E-8EB8-34F208366279}"/>
          </ac:spMkLst>
        </pc:spChg>
        <pc:spChg chg="mod">
          <ac:chgData name="Krishna  Patel" userId="ed2200d0-4eed-40c6-ab36-78bc62005773" providerId="ADAL" clId="{7B184F28-718E-4974-B93F-601DFC94A538}" dt="2025-06-13T13:10:20.230" v="1839" actId="1037"/>
          <ac:spMkLst>
            <pc:docMk/>
            <pc:sldMk cId="490945690" sldId="1410"/>
            <ac:spMk id="56" creationId="{306EBDBA-2FB5-39C5-A3E9-B3DAB479580B}"/>
          </ac:spMkLst>
        </pc:spChg>
        <pc:spChg chg="mod">
          <ac:chgData name="Krishna  Patel" userId="ed2200d0-4eed-40c6-ab36-78bc62005773" providerId="ADAL" clId="{7B184F28-718E-4974-B93F-601DFC94A538}" dt="2025-06-13T13:10:20.230" v="1839" actId="1037"/>
          <ac:spMkLst>
            <pc:docMk/>
            <pc:sldMk cId="490945690" sldId="1410"/>
            <ac:spMk id="58" creationId="{45EAEBA9-DFFE-AA91-8E83-B840B93D6DD2}"/>
          </ac:spMkLst>
        </pc:spChg>
        <pc:picChg chg="add mod">
          <ac:chgData name="Krishna  Patel" userId="ed2200d0-4eed-40c6-ab36-78bc62005773" providerId="ADAL" clId="{7B184F28-718E-4974-B93F-601DFC94A538}" dt="2025-06-13T09:24:40.046" v="180" actId="1035"/>
          <ac:picMkLst>
            <pc:docMk/>
            <pc:sldMk cId="490945690" sldId="1410"/>
            <ac:picMk id="30" creationId="{B4AA3FF1-65A3-35F4-0CE9-E163715D11A7}"/>
          </ac:picMkLst>
        </pc:picChg>
      </pc:sldChg>
      <pc:sldChg chg="addSp delSp modSp mod modClrScheme chgLayout">
        <pc:chgData name="Krishna  Patel" userId="ed2200d0-4eed-40c6-ab36-78bc62005773" providerId="ADAL" clId="{7B184F28-718E-4974-B93F-601DFC94A538}" dt="2025-06-13T13:01:41.354" v="1715" actId="465"/>
        <pc:sldMkLst>
          <pc:docMk/>
          <pc:sldMk cId="699312704" sldId="1419"/>
        </pc:sldMkLst>
        <pc:spChg chg="mod ord">
          <ac:chgData name="Krishna  Patel" userId="ed2200d0-4eed-40c6-ab36-78bc62005773" providerId="ADAL" clId="{7B184F28-718E-4974-B93F-601DFC94A538}" dt="2025-06-13T12:57:55.159" v="1667" actId="700"/>
          <ac:spMkLst>
            <pc:docMk/>
            <pc:sldMk cId="699312704" sldId="1419"/>
            <ac:spMk id="2" creationId="{39EE241D-DB58-747F-5187-FBC5665E4CB0}"/>
          </ac:spMkLst>
        </pc:spChg>
        <pc:spChg chg="add mod">
          <ac:chgData name="Krishna  Patel" userId="ed2200d0-4eed-40c6-ab36-78bc62005773" providerId="ADAL" clId="{7B184F28-718E-4974-B93F-601DFC94A538}" dt="2025-06-13T12:59:35.050" v="1690" actId="1076"/>
          <ac:spMkLst>
            <pc:docMk/>
            <pc:sldMk cId="699312704" sldId="1419"/>
            <ac:spMk id="6" creationId="{C04D169E-88E2-5D1E-181C-35CEE1D2D9D8}"/>
          </ac:spMkLst>
        </pc:spChg>
        <pc:spChg chg="mod">
          <ac:chgData name="Krishna  Patel" userId="ed2200d0-4eed-40c6-ab36-78bc62005773" providerId="ADAL" clId="{7B184F28-718E-4974-B93F-601DFC94A538}" dt="2025-06-13T12:57:59.948" v="1668" actId="21"/>
          <ac:spMkLst>
            <pc:docMk/>
            <pc:sldMk cId="699312704" sldId="1419"/>
            <ac:spMk id="18" creationId="{FF493BFE-0287-4EB0-D7C0-C6360C468CD8}"/>
          </ac:spMkLst>
        </pc:spChg>
        <pc:spChg chg="mod">
          <ac:chgData name="Krishna  Patel" userId="ed2200d0-4eed-40c6-ab36-78bc62005773" providerId="ADAL" clId="{7B184F28-718E-4974-B93F-601DFC94A538}" dt="2025-06-13T12:59:47.425" v="1693" actId="14100"/>
          <ac:spMkLst>
            <pc:docMk/>
            <pc:sldMk cId="699312704" sldId="1419"/>
            <ac:spMk id="19" creationId="{A264226E-DF22-666A-0990-1E2BFA9D91E9}"/>
          </ac:spMkLst>
        </pc:spChg>
        <pc:spChg chg="mod">
          <ac:chgData name="Krishna  Patel" userId="ed2200d0-4eed-40c6-ab36-78bc62005773" providerId="ADAL" clId="{7B184F28-718E-4974-B93F-601DFC94A538}" dt="2025-06-13T12:59:56.177" v="1695" actId="1076"/>
          <ac:spMkLst>
            <pc:docMk/>
            <pc:sldMk cId="699312704" sldId="1419"/>
            <ac:spMk id="20" creationId="{0671DA0E-EA68-2063-2269-424204CC9471}"/>
          </ac:spMkLst>
        </pc:spChg>
        <pc:spChg chg="mod">
          <ac:chgData name="Krishna  Patel" userId="ed2200d0-4eed-40c6-ab36-78bc62005773" providerId="ADAL" clId="{7B184F28-718E-4974-B93F-601DFC94A538}" dt="2025-06-13T13:00:00.375" v="1696" actId="1076"/>
          <ac:spMkLst>
            <pc:docMk/>
            <pc:sldMk cId="699312704" sldId="1419"/>
            <ac:spMk id="21" creationId="{34F4B8A3-2F47-25AC-9FF7-7BF5C73FDF7F}"/>
          </ac:spMkLst>
        </pc:spChg>
        <pc:spChg chg="mod">
          <ac:chgData name="Krishna  Patel" userId="ed2200d0-4eed-40c6-ab36-78bc62005773" providerId="ADAL" clId="{7B184F28-718E-4974-B93F-601DFC94A538}" dt="2025-06-13T12:58:44.735" v="1678" actId="1076"/>
          <ac:spMkLst>
            <pc:docMk/>
            <pc:sldMk cId="699312704" sldId="1419"/>
            <ac:spMk id="22" creationId="{3199507C-3309-7E4D-33AF-9A9B8A99925C}"/>
          </ac:spMkLst>
        </pc:spChg>
        <pc:spChg chg="mod">
          <ac:chgData name="Krishna  Patel" userId="ed2200d0-4eed-40c6-ab36-78bc62005773" providerId="ADAL" clId="{7B184F28-718E-4974-B93F-601DFC94A538}" dt="2025-06-13T13:00:09.128" v="1697" actId="1076"/>
          <ac:spMkLst>
            <pc:docMk/>
            <pc:sldMk cId="699312704" sldId="1419"/>
            <ac:spMk id="24" creationId="{761E66B5-6228-38B5-51B7-9D2EEE343E82}"/>
          </ac:spMkLst>
        </pc:spChg>
        <pc:spChg chg="mod">
          <ac:chgData name="Krishna  Patel" userId="ed2200d0-4eed-40c6-ab36-78bc62005773" providerId="ADAL" clId="{7B184F28-718E-4974-B93F-601DFC94A538}" dt="2025-06-13T12:58:23.161" v="1671" actId="1076"/>
          <ac:spMkLst>
            <pc:docMk/>
            <pc:sldMk cId="699312704" sldId="1419"/>
            <ac:spMk id="25" creationId="{7F1530B5-E76E-CBA8-BE69-A97ECD21C5CC}"/>
          </ac:spMkLst>
        </pc:spChg>
        <pc:spChg chg="mod">
          <ac:chgData name="Krishna  Patel" userId="ed2200d0-4eed-40c6-ab36-78bc62005773" providerId="ADAL" clId="{7B184F28-718E-4974-B93F-601DFC94A538}" dt="2025-06-13T13:00:09.128" v="1697" actId="1076"/>
          <ac:spMkLst>
            <pc:docMk/>
            <pc:sldMk cId="699312704" sldId="1419"/>
            <ac:spMk id="27" creationId="{CF4B63DF-D8C7-8181-A714-78F6C5467125}"/>
          </ac:spMkLst>
        </pc:spChg>
        <pc:spChg chg="mod">
          <ac:chgData name="Krishna  Patel" userId="ed2200d0-4eed-40c6-ab36-78bc62005773" providerId="ADAL" clId="{7B184F28-718E-4974-B93F-601DFC94A538}" dt="2025-06-13T12:58:23.161" v="1671" actId="1076"/>
          <ac:spMkLst>
            <pc:docMk/>
            <pc:sldMk cId="699312704" sldId="1419"/>
            <ac:spMk id="28" creationId="{73748634-7603-C2ED-661A-0CF4B16B95A0}"/>
          </ac:spMkLst>
        </pc:spChg>
        <pc:spChg chg="mod">
          <ac:chgData name="Krishna  Patel" userId="ed2200d0-4eed-40c6-ab36-78bc62005773" providerId="ADAL" clId="{7B184F28-718E-4974-B93F-601DFC94A538}" dt="2025-06-13T13:00:09.128" v="1697" actId="1076"/>
          <ac:spMkLst>
            <pc:docMk/>
            <pc:sldMk cId="699312704" sldId="1419"/>
            <ac:spMk id="30" creationId="{3955BFC5-61FE-3F8B-D08C-D7598046E9D4}"/>
          </ac:spMkLst>
        </pc:spChg>
        <pc:spChg chg="mod">
          <ac:chgData name="Krishna  Patel" userId="ed2200d0-4eed-40c6-ab36-78bc62005773" providerId="ADAL" clId="{7B184F28-718E-4974-B93F-601DFC94A538}" dt="2025-06-13T12:58:23.161" v="1671" actId="1076"/>
          <ac:spMkLst>
            <pc:docMk/>
            <pc:sldMk cId="699312704" sldId="1419"/>
            <ac:spMk id="31" creationId="{9834B998-1C2A-3E9D-D8D6-D2D25ECFA010}"/>
          </ac:spMkLst>
        </pc:spChg>
        <pc:spChg chg="mod">
          <ac:chgData name="Krishna  Patel" userId="ed2200d0-4eed-40c6-ab36-78bc62005773" providerId="ADAL" clId="{7B184F28-718E-4974-B93F-601DFC94A538}" dt="2025-06-13T13:00:28.736" v="1699" actId="14100"/>
          <ac:spMkLst>
            <pc:docMk/>
            <pc:sldMk cId="699312704" sldId="1419"/>
            <ac:spMk id="35" creationId="{6C3363A7-52E4-59A7-1424-9F6A9F3F5EC7}"/>
          </ac:spMkLst>
        </pc:spChg>
        <pc:spChg chg="mod">
          <ac:chgData name="Krishna  Patel" userId="ed2200d0-4eed-40c6-ab36-78bc62005773" providerId="ADAL" clId="{7B184F28-718E-4974-B93F-601DFC94A538}" dt="2025-06-13T13:00:42.601" v="1702" actId="1076"/>
          <ac:spMkLst>
            <pc:docMk/>
            <pc:sldMk cId="699312704" sldId="1419"/>
            <ac:spMk id="36" creationId="{9BB28966-A567-62CA-5201-83098AD194CF}"/>
          </ac:spMkLst>
        </pc:spChg>
        <pc:spChg chg="mod">
          <ac:chgData name="Krishna  Patel" userId="ed2200d0-4eed-40c6-ab36-78bc62005773" providerId="ADAL" clId="{7B184F28-718E-4974-B93F-601DFC94A538}" dt="2025-06-13T13:01:34.778" v="1714" actId="14100"/>
          <ac:spMkLst>
            <pc:docMk/>
            <pc:sldMk cId="699312704" sldId="1419"/>
            <ac:spMk id="37" creationId="{E7C307A8-60A0-1DD9-169A-17E2AB46BCC6}"/>
          </ac:spMkLst>
        </pc:spChg>
        <pc:spChg chg="mod">
          <ac:chgData name="Krishna  Patel" userId="ed2200d0-4eed-40c6-ab36-78bc62005773" providerId="ADAL" clId="{7B184F28-718E-4974-B93F-601DFC94A538}" dt="2025-06-13T13:01:00.223" v="1707" actId="14100"/>
          <ac:spMkLst>
            <pc:docMk/>
            <pc:sldMk cId="699312704" sldId="1419"/>
            <ac:spMk id="38" creationId="{7C8C506B-5F89-D8EB-B970-047DB8E128BF}"/>
          </ac:spMkLst>
        </pc:spChg>
        <pc:spChg chg="mod">
          <ac:chgData name="Krishna  Patel" userId="ed2200d0-4eed-40c6-ab36-78bc62005773" providerId="ADAL" clId="{7B184F28-718E-4974-B93F-601DFC94A538}" dt="2025-06-13T13:01:31.897" v="1713" actId="1076"/>
          <ac:spMkLst>
            <pc:docMk/>
            <pc:sldMk cId="699312704" sldId="1419"/>
            <ac:spMk id="40" creationId="{5584C7C2-B0D1-CD9C-6FC5-625097845EF5}"/>
          </ac:spMkLst>
        </pc:spChg>
        <pc:spChg chg="mod">
          <ac:chgData name="Krishna  Patel" userId="ed2200d0-4eed-40c6-ab36-78bc62005773" providerId="ADAL" clId="{7B184F28-718E-4974-B93F-601DFC94A538}" dt="2025-06-13T12:57:07.293" v="1649" actId="21"/>
          <ac:spMkLst>
            <pc:docMk/>
            <pc:sldMk cId="699312704" sldId="1419"/>
            <ac:spMk id="41" creationId="{7D6FADE2-ACE9-7C2A-D581-7BE843F17060}"/>
          </ac:spMkLst>
        </pc:spChg>
        <pc:spChg chg="mod">
          <ac:chgData name="Krishna  Patel" userId="ed2200d0-4eed-40c6-ab36-78bc62005773" providerId="ADAL" clId="{7B184F28-718E-4974-B93F-601DFC94A538}" dt="2025-06-13T13:01:41.354" v="1715" actId="465"/>
          <ac:spMkLst>
            <pc:docMk/>
            <pc:sldMk cId="699312704" sldId="1419"/>
            <ac:spMk id="43" creationId="{CD5C2435-53B9-90DC-9B3F-75C543B40FFD}"/>
          </ac:spMkLst>
        </pc:spChg>
        <pc:spChg chg="mod">
          <ac:chgData name="Krishna  Patel" userId="ed2200d0-4eed-40c6-ab36-78bc62005773" providerId="ADAL" clId="{7B184F28-718E-4974-B93F-601DFC94A538}" dt="2025-06-13T12:57:19.401" v="1653" actId="21"/>
          <ac:spMkLst>
            <pc:docMk/>
            <pc:sldMk cId="699312704" sldId="1419"/>
            <ac:spMk id="44" creationId="{5764C99F-7221-9BE7-91BA-C4CA74AC4B40}"/>
          </ac:spMkLst>
        </pc:spChg>
        <pc:spChg chg="mod">
          <ac:chgData name="Krishna  Patel" userId="ed2200d0-4eed-40c6-ab36-78bc62005773" providerId="ADAL" clId="{7B184F28-718E-4974-B93F-601DFC94A538}" dt="2025-06-13T13:01:15.446" v="1710" actId="1076"/>
          <ac:spMkLst>
            <pc:docMk/>
            <pc:sldMk cId="699312704" sldId="1419"/>
            <ac:spMk id="46" creationId="{AFA36709-E750-3817-2927-E3E3EA11512F}"/>
          </ac:spMkLst>
        </pc:spChg>
        <pc:spChg chg="mod ord">
          <ac:chgData name="Krishna  Patel" userId="ed2200d0-4eed-40c6-ab36-78bc62005773" providerId="ADAL" clId="{7B184F28-718E-4974-B93F-601DFC94A538}" dt="2025-06-13T12:57:55.159" v="1667" actId="700"/>
          <ac:spMkLst>
            <pc:docMk/>
            <pc:sldMk cId="699312704" sldId="1419"/>
            <ac:spMk id="49" creationId="{66505F2A-55FB-CE74-F97B-71D545500C09}"/>
          </ac:spMkLst>
        </pc:spChg>
        <pc:spChg chg="mod ord">
          <ac:chgData name="Krishna  Patel" userId="ed2200d0-4eed-40c6-ab36-78bc62005773" providerId="ADAL" clId="{7B184F28-718E-4974-B93F-601DFC94A538}" dt="2025-06-13T12:57:55.159" v="1667" actId="700"/>
          <ac:spMkLst>
            <pc:docMk/>
            <pc:sldMk cId="699312704" sldId="1419"/>
            <ac:spMk id="50" creationId="{7964FE19-44F2-5DD8-25F7-482E7B540547}"/>
          </ac:spMkLst>
        </pc:spChg>
      </pc:sldChg>
      <pc:sldChg chg="delSp modSp mod">
        <pc:chgData name="Krishna  Patel" userId="ed2200d0-4eed-40c6-ab36-78bc62005773" providerId="ADAL" clId="{7B184F28-718E-4974-B93F-601DFC94A538}" dt="2025-06-13T13:04:24.780" v="1752" actId="21"/>
        <pc:sldMkLst>
          <pc:docMk/>
          <pc:sldMk cId="2534325615" sldId="1420"/>
        </pc:sldMkLst>
      </pc:sldChg>
      <pc:sldChg chg="addSp delSp modSp mod">
        <pc:chgData name="Krishna  Patel" userId="ed2200d0-4eed-40c6-ab36-78bc62005773" providerId="ADAL" clId="{7B184F28-718E-4974-B93F-601DFC94A538}" dt="2025-06-13T12:55:03.307" v="1634" actId="465"/>
        <pc:sldMkLst>
          <pc:docMk/>
          <pc:sldMk cId="401956825" sldId="1422"/>
        </pc:sldMkLst>
        <pc:spChg chg="add mod ord">
          <ac:chgData name="Krishna  Patel" userId="ed2200d0-4eed-40c6-ab36-78bc62005773" providerId="ADAL" clId="{7B184F28-718E-4974-B93F-601DFC94A538}" dt="2025-06-13T10:22:18.538" v="340" actId="1076"/>
          <ac:spMkLst>
            <pc:docMk/>
            <pc:sldMk cId="401956825" sldId="1422"/>
            <ac:spMk id="5" creationId="{DA537C16-5113-0A5B-DEE7-0D6A53DD3CA8}"/>
          </ac:spMkLst>
        </pc:spChg>
        <pc:spChg chg="add mod">
          <ac:chgData name="Krishna  Patel" userId="ed2200d0-4eed-40c6-ab36-78bc62005773" providerId="ADAL" clId="{7B184F28-718E-4974-B93F-601DFC94A538}" dt="2025-06-13T09:07:21.180" v="118" actId="1035"/>
          <ac:spMkLst>
            <pc:docMk/>
            <pc:sldMk cId="401956825" sldId="1422"/>
            <ac:spMk id="6" creationId="{1340AECC-BB6A-10D5-8B98-4BD28287ABAE}"/>
          </ac:spMkLst>
        </pc:spChg>
        <pc:spChg chg="mod">
          <ac:chgData name="Krishna  Patel" userId="ed2200d0-4eed-40c6-ab36-78bc62005773" providerId="ADAL" clId="{7B184F28-718E-4974-B93F-601DFC94A538}" dt="2025-06-13T12:51:18.908" v="1580" actId="12"/>
          <ac:spMkLst>
            <pc:docMk/>
            <pc:sldMk cId="401956825" sldId="1422"/>
            <ac:spMk id="19" creationId="{92E59E4A-8507-2C7E-58BC-304204024DAB}"/>
          </ac:spMkLst>
        </pc:spChg>
        <pc:spChg chg="mod">
          <ac:chgData name="Krishna  Patel" userId="ed2200d0-4eed-40c6-ab36-78bc62005773" providerId="ADAL" clId="{7B184F28-718E-4974-B93F-601DFC94A538}" dt="2025-06-13T12:51:43.865" v="1586" actId="14100"/>
          <ac:spMkLst>
            <pc:docMk/>
            <pc:sldMk cId="401956825" sldId="1422"/>
            <ac:spMk id="21" creationId="{1B013C59-A7D7-0F2B-2D49-119F5A2068B0}"/>
          </ac:spMkLst>
        </pc:spChg>
        <pc:spChg chg="mod">
          <ac:chgData name="Krishna  Patel" userId="ed2200d0-4eed-40c6-ab36-78bc62005773" providerId="ADAL" clId="{7B184F28-718E-4974-B93F-601DFC94A538}" dt="2025-06-13T12:52:05.697" v="1588" actId="1076"/>
          <ac:spMkLst>
            <pc:docMk/>
            <pc:sldMk cId="401956825" sldId="1422"/>
            <ac:spMk id="22" creationId="{B0D213F6-0B6C-19EE-9438-911884694BFC}"/>
          </ac:spMkLst>
        </pc:spChg>
        <pc:spChg chg="mod">
          <ac:chgData name="Krishna  Patel" userId="ed2200d0-4eed-40c6-ab36-78bc62005773" providerId="ADAL" clId="{7B184F28-718E-4974-B93F-601DFC94A538}" dt="2025-06-13T12:54:39.847" v="1629" actId="2710"/>
          <ac:spMkLst>
            <pc:docMk/>
            <pc:sldMk cId="401956825" sldId="1422"/>
            <ac:spMk id="24" creationId="{C473EEE4-19B6-15CB-07B9-D8E8F46E6472}"/>
          </ac:spMkLst>
        </pc:spChg>
        <pc:spChg chg="mod">
          <ac:chgData name="Krishna  Patel" userId="ed2200d0-4eed-40c6-ab36-78bc62005773" providerId="ADAL" clId="{7B184F28-718E-4974-B93F-601DFC94A538}" dt="2025-06-13T12:52:55.653" v="1593" actId="21"/>
          <ac:spMkLst>
            <pc:docMk/>
            <pc:sldMk cId="401956825" sldId="1422"/>
            <ac:spMk id="25" creationId="{83B851D6-8ADD-2E3A-F97F-AF9E0A3DBABB}"/>
          </ac:spMkLst>
        </pc:spChg>
        <pc:spChg chg="mod">
          <ac:chgData name="Krishna  Patel" userId="ed2200d0-4eed-40c6-ab36-78bc62005773" providerId="ADAL" clId="{7B184F28-718E-4974-B93F-601DFC94A538}" dt="2025-06-13T12:55:03.307" v="1634" actId="465"/>
          <ac:spMkLst>
            <pc:docMk/>
            <pc:sldMk cId="401956825" sldId="1422"/>
            <ac:spMk id="27" creationId="{7D9B2889-41DE-7131-1691-2B22FD8905D4}"/>
          </ac:spMkLst>
        </pc:spChg>
        <pc:spChg chg="mod">
          <ac:chgData name="Krishna  Patel" userId="ed2200d0-4eed-40c6-ab36-78bc62005773" providerId="ADAL" clId="{7B184F28-718E-4974-B93F-601DFC94A538}" dt="2025-06-13T12:53:06.957" v="1598" actId="21"/>
          <ac:spMkLst>
            <pc:docMk/>
            <pc:sldMk cId="401956825" sldId="1422"/>
            <ac:spMk id="28" creationId="{81A010FF-92F2-242C-F7F1-12B1D9A6663E}"/>
          </ac:spMkLst>
        </pc:spChg>
        <pc:spChg chg="mod">
          <ac:chgData name="Krishna  Patel" userId="ed2200d0-4eed-40c6-ab36-78bc62005773" providerId="ADAL" clId="{7B184F28-718E-4974-B93F-601DFC94A538}" dt="2025-06-13T12:55:03.307" v="1634" actId="465"/>
          <ac:spMkLst>
            <pc:docMk/>
            <pc:sldMk cId="401956825" sldId="1422"/>
            <ac:spMk id="30" creationId="{57F9B51B-F346-6A2E-0657-5EF16F9F2C63}"/>
          </ac:spMkLst>
        </pc:spChg>
        <pc:spChg chg="mod">
          <ac:chgData name="Krishna  Patel" userId="ed2200d0-4eed-40c6-ab36-78bc62005773" providerId="ADAL" clId="{7B184F28-718E-4974-B93F-601DFC94A538}" dt="2025-06-13T12:53:16.953" v="1602" actId="21"/>
          <ac:spMkLst>
            <pc:docMk/>
            <pc:sldMk cId="401956825" sldId="1422"/>
            <ac:spMk id="31" creationId="{B32A9AAA-83A9-ABEA-4919-058893407629}"/>
          </ac:spMkLst>
        </pc:spChg>
        <pc:spChg chg="mod">
          <ac:chgData name="Krishna  Patel" userId="ed2200d0-4eed-40c6-ab36-78bc62005773" providerId="ADAL" clId="{7B184F28-718E-4974-B93F-601DFC94A538}" dt="2025-06-13T12:55:03.307" v="1634" actId="465"/>
          <ac:spMkLst>
            <pc:docMk/>
            <pc:sldMk cId="401956825" sldId="1422"/>
            <ac:spMk id="36" creationId="{1EFB7A63-24CF-7418-5160-532B6824B942}"/>
          </ac:spMkLst>
        </pc:spChg>
        <pc:spChg chg="mod">
          <ac:chgData name="Krishna  Patel" userId="ed2200d0-4eed-40c6-ab36-78bc62005773" providerId="ADAL" clId="{7B184F28-718E-4974-B93F-601DFC94A538}" dt="2025-06-13T12:53:29.396" v="1610" actId="21"/>
          <ac:spMkLst>
            <pc:docMk/>
            <pc:sldMk cId="401956825" sldId="1422"/>
            <ac:spMk id="37" creationId="{8320E62B-1E64-1F5B-7761-3FFF528F76B6}"/>
          </ac:spMkLst>
        </pc:spChg>
        <pc:spChg chg="mod">
          <ac:chgData name="Krishna  Patel" userId="ed2200d0-4eed-40c6-ab36-78bc62005773" providerId="ADAL" clId="{7B184F28-718E-4974-B93F-601DFC94A538}" dt="2025-06-13T12:54:58.273" v="1633" actId="1076"/>
          <ac:spMkLst>
            <pc:docMk/>
            <pc:sldMk cId="401956825" sldId="1422"/>
            <ac:spMk id="39" creationId="{2299ECDE-7770-A218-65B5-D2679E6A6919}"/>
          </ac:spMkLst>
        </pc:spChg>
        <pc:spChg chg="mod">
          <ac:chgData name="Krishna  Patel" userId="ed2200d0-4eed-40c6-ab36-78bc62005773" providerId="ADAL" clId="{7B184F28-718E-4974-B93F-601DFC94A538}" dt="2025-06-13T12:53:37.902" v="1614" actId="21"/>
          <ac:spMkLst>
            <pc:docMk/>
            <pc:sldMk cId="401956825" sldId="1422"/>
            <ac:spMk id="40" creationId="{69FE80FE-F210-017C-0CFF-8E4FA5250951}"/>
          </ac:spMkLst>
        </pc:spChg>
        <pc:spChg chg="mod">
          <ac:chgData name="Krishna  Patel" userId="ed2200d0-4eed-40c6-ab36-78bc62005773" providerId="ADAL" clId="{7B184F28-718E-4974-B93F-601DFC94A538}" dt="2025-06-13T10:22:24.285" v="342" actId="1076"/>
          <ac:spMkLst>
            <pc:docMk/>
            <pc:sldMk cId="401956825" sldId="1422"/>
            <ac:spMk id="43" creationId="{2C4B2B50-9943-D397-51D7-ABC44CB53011}"/>
          </ac:spMkLst>
        </pc:spChg>
        <pc:picChg chg="add mod">
          <ac:chgData name="Krishna  Patel" userId="ed2200d0-4eed-40c6-ab36-78bc62005773" providerId="ADAL" clId="{7B184F28-718E-4974-B93F-601DFC94A538}" dt="2025-06-13T10:22:36.599" v="346" actId="1076"/>
          <ac:picMkLst>
            <pc:docMk/>
            <pc:sldMk cId="401956825" sldId="1422"/>
            <ac:picMk id="8" creationId="{54F435CB-4F7D-1187-FA44-0A308296F71F}"/>
          </ac:picMkLst>
        </pc:picChg>
      </pc:sldChg>
      <pc:sldChg chg="del">
        <pc:chgData name="Krishna  Patel" userId="ed2200d0-4eed-40c6-ab36-78bc62005773" providerId="ADAL" clId="{7B184F28-718E-4974-B93F-601DFC94A538}" dt="2025-06-13T12:45:32.957" v="1505" actId="47"/>
        <pc:sldMkLst>
          <pc:docMk/>
          <pc:sldMk cId="421499063" sldId="1423"/>
        </pc:sldMkLst>
      </pc:sldChg>
      <pc:sldChg chg="addSp delSp modSp mod modClrScheme chgLayout">
        <pc:chgData name="Krishna  Patel" userId="ed2200d0-4eed-40c6-ab36-78bc62005773" providerId="ADAL" clId="{7B184F28-718E-4974-B93F-601DFC94A538}" dt="2025-06-13T12:49:31.945" v="1569" actId="1076"/>
        <pc:sldMkLst>
          <pc:docMk/>
          <pc:sldMk cId="1630084977" sldId="1424"/>
        </pc:sldMkLst>
        <pc:spChg chg="mod ord">
          <ac:chgData name="Krishna  Patel" userId="ed2200d0-4eed-40c6-ab36-78bc62005773" providerId="ADAL" clId="{7B184F28-718E-4974-B93F-601DFC94A538}" dt="2025-06-13T12:46:52.031" v="1524" actId="700"/>
          <ac:spMkLst>
            <pc:docMk/>
            <pc:sldMk cId="1630084977" sldId="1424"/>
            <ac:spMk id="2" creationId="{D571FD96-727F-B6AF-7DDB-6D3A160D95DC}"/>
          </ac:spMkLst>
        </pc:spChg>
        <pc:spChg chg="mod">
          <ac:chgData name="Krishna  Patel" userId="ed2200d0-4eed-40c6-ab36-78bc62005773" providerId="ADAL" clId="{7B184F28-718E-4974-B93F-601DFC94A538}" dt="2025-06-13T12:47:08.342" v="1528" actId="21"/>
          <ac:spMkLst>
            <pc:docMk/>
            <pc:sldMk cId="1630084977" sldId="1424"/>
            <ac:spMk id="3" creationId="{7D8EB15A-3072-903B-CE55-79DECC12F75E}"/>
          </ac:spMkLst>
        </pc:spChg>
        <pc:spChg chg="mod">
          <ac:chgData name="Krishna  Patel" userId="ed2200d0-4eed-40c6-ab36-78bc62005773" providerId="ADAL" clId="{7B184F28-718E-4974-B93F-601DFC94A538}" dt="2025-06-13T12:49:25.705" v="1568" actId="14100"/>
          <ac:spMkLst>
            <pc:docMk/>
            <pc:sldMk cId="1630084977" sldId="1424"/>
            <ac:spMk id="19" creationId="{35A7C046-3643-4D7E-EF3C-D9D208645769}"/>
          </ac:spMkLst>
        </pc:spChg>
        <pc:spChg chg="mod">
          <ac:chgData name="Krishna  Patel" userId="ed2200d0-4eed-40c6-ab36-78bc62005773" providerId="ADAL" clId="{7B184F28-718E-4974-B93F-601DFC94A538}" dt="2025-06-13T12:49:06.427" v="1564" actId="1076"/>
          <ac:spMkLst>
            <pc:docMk/>
            <pc:sldMk cId="1630084977" sldId="1424"/>
            <ac:spMk id="20" creationId="{5A388D71-B830-C05E-9E7E-B85D85F36E99}"/>
          </ac:spMkLst>
        </pc:spChg>
        <pc:spChg chg="mod">
          <ac:chgData name="Krishna  Patel" userId="ed2200d0-4eed-40c6-ab36-78bc62005773" providerId="ADAL" clId="{7B184F28-718E-4974-B93F-601DFC94A538}" dt="2025-06-13T12:49:11.825" v="1565" actId="1076"/>
          <ac:spMkLst>
            <pc:docMk/>
            <pc:sldMk cId="1630084977" sldId="1424"/>
            <ac:spMk id="21" creationId="{80FF1AD4-2A9F-7EB7-F979-544C00955903}"/>
          </ac:spMkLst>
        </pc:spChg>
        <pc:spChg chg="mod">
          <ac:chgData name="Krishna  Patel" userId="ed2200d0-4eed-40c6-ab36-78bc62005773" providerId="ADAL" clId="{7B184F28-718E-4974-B93F-601DFC94A538}" dt="2025-06-13T12:49:20.081" v="1566" actId="1076"/>
          <ac:spMkLst>
            <pc:docMk/>
            <pc:sldMk cId="1630084977" sldId="1424"/>
            <ac:spMk id="24" creationId="{662EABDA-3EEB-4FD6-01EE-AC692F9E757C}"/>
          </ac:spMkLst>
        </pc:spChg>
        <pc:spChg chg="mod">
          <ac:chgData name="Krishna  Patel" userId="ed2200d0-4eed-40c6-ab36-78bc62005773" providerId="ADAL" clId="{7B184F28-718E-4974-B93F-601DFC94A538}" dt="2025-06-13T12:49:31.945" v="1569" actId="1076"/>
          <ac:spMkLst>
            <pc:docMk/>
            <pc:sldMk cId="1630084977" sldId="1424"/>
            <ac:spMk id="26" creationId="{E7C58F8F-2891-6E79-F984-418AB18DF3CF}"/>
          </ac:spMkLst>
        </pc:spChg>
        <pc:spChg chg="mod">
          <ac:chgData name="Krishna  Patel" userId="ed2200d0-4eed-40c6-ab36-78bc62005773" providerId="ADAL" clId="{7B184F28-718E-4974-B93F-601DFC94A538}" dt="2025-06-13T12:49:20.081" v="1566" actId="1076"/>
          <ac:spMkLst>
            <pc:docMk/>
            <pc:sldMk cId="1630084977" sldId="1424"/>
            <ac:spMk id="28" creationId="{BDFEF227-DF2F-5CD3-3CD2-E30C1DE5022E}"/>
          </ac:spMkLst>
        </pc:spChg>
        <pc:spChg chg="mod ord">
          <ac:chgData name="Krishna  Patel" userId="ed2200d0-4eed-40c6-ab36-78bc62005773" providerId="ADAL" clId="{7B184F28-718E-4974-B93F-601DFC94A538}" dt="2025-06-13T12:46:52.031" v="1524" actId="700"/>
          <ac:spMkLst>
            <pc:docMk/>
            <pc:sldMk cId="1630084977" sldId="1424"/>
            <ac:spMk id="51" creationId="{C53788F2-0040-B70A-DF23-F8372B55EC73}"/>
          </ac:spMkLst>
        </pc:spChg>
        <pc:spChg chg="mod ord">
          <ac:chgData name="Krishna  Patel" userId="ed2200d0-4eed-40c6-ab36-78bc62005773" providerId="ADAL" clId="{7B184F28-718E-4974-B93F-601DFC94A538}" dt="2025-06-13T12:46:52.031" v="1524" actId="700"/>
          <ac:spMkLst>
            <pc:docMk/>
            <pc:sldMk cId="1630084977" sldId="1424"/>
            <ac:spMk id="52" creationId="{75397D38-7103-C370-BA03-3E9515976C5F}"/>
          </ac:spMkLst>
        </pc:spChg>
      </pc:sldChg>
      <pc:sldChg chg="del">
        <pc:chgData name="Krishna  Patel" userId="ed2200d0-4eed-40c6-ab36-78bc62005773" providerId="ADAL" clId="{7B184F28-718E-4974-B93F-601DFC94A538}" dt="2025-06-13T12:41:23.122" v="1464" actId="47"/>
        <pc:sldMkLst>
          <pc:docMk/>
          <pc:sldMk cId="149391360" sldId="1425"/>
        </pc:sldMkLst>
      </pc:sldChg>
      <pc:sldChg chg="del">
        <pc:chgData name="Krishna  Patel" userId="ed2200d0-4eed-40c6-ab36-78bc62005773" providerId="ADAL" clId="{7B184F28-718E-4974-B93F-601DFC94A538}" dt="2025-06-13T12:35:24.030" v="1417" actId="47"/>
        <pc:sldMkLst>
          <pc:docMk/>
          <pc:sldMk cId="2230945605" sldId="1427"/>
        </pc:sldMkLst>
      </pc:sldChg>
      <pc:sldChg chg="addSp delSp modSp del mod">
        <pc:chgData name="Krishna  Patel" userId="ed2200d0-4eed-40c6-ab36-78bc62005773" providerId="ADAL" clId="{7B184F28-718E-4974-B93F-601DFC94A538}" dt="2025-06-13T12:29:24.380" v="1323" actId="47"/>
        <pc:sldMkLst>
          <pc:docMk/>
          <pc:sldMk cId="1185609157" sldId="1428"/>
        </pc:sldMkLst>
      </pc:sldChg>
      <pc:sldChg chg="addSp delSp modSp del mod">
        <pc:chgData name="Krishna  Patel" userId="ed2200d0-4eed-40c6-ab36-78bc62005773" providerId="ADAL" clId="{7B184F28-718E-4974-B93F-601DFC94A538}" dt="2025-06-13T12:16:27.939" v="1254" actId="47"/>
        <pc:sldMkLst>
          <pc:docMk/>
          <pc:sldMk cId="295625867" sldId="1429"/>
        </pc:sldMkLst>
      </pc:sldChg>
      <pc:sldChg chg="modSp del mod">
        <pc:chgData name="Krishna  Patel" userId="ed2200d0-4eed-40c6-ab36-78bc62005773" providerId="ADAL" clId="{7B184F28-718E-4974-B93F-601DFC94A538}" dt="2025-06-13T12:01:51.684" v="1114" actId="47"/>
        <pc:sldMkLst>
          <pc:docMk/>
          <pc:sldMk cId="296054934" sldId="1431"/>
        </pc:sldMkLst>
      </pc:sldChg>
      <pc:sldChg chg="del">
        <pc:chgData name="Krishna  Patel" userId="ed2200d0-4eed-40c6-ab36-78bc62005773" providerId="ADAL" clId="{7B184F28-718E-4974-B93F-601DFC94A538}" dt="2025-06-13T12:10:29.730" v="1196" actId="47"/>
        <pc:sldMkLst>
          <pc:docMk/>
          <pc:sldMk cId="1115682485" sldId="1432"/>
        </pc:sldMkLst>
      </pc:sldChg>
      <pc:sldChg chg="addSp delSp modSp del mod">
        <pc:chgData name="Krishna  Patel" userId="ed2200d0-4eed-40c6-ab36-78bc62005773" providerId="ADAL" clId="{7B184F28-718E-4974-B93F-601DFC94A538}" dt="2025-06-13T11:50:58.632" v="1039" actId="47"/>
        <pc:sldMkLst>
          <pc:docMk/>
          <pc:sldMk cId="1521786324" sldId="1434"/>
        </pc:sldMkLst>
      </pc:sldChg>
      <pc:sldChg chg="modSp del mod">
        <pc:chgData name="Krishna  Patel" userId="ed2200d0-4eed-40c6-ab36-78bc62005773" providerId="ADAL" clId="{7B184F28-718E-4974-B93F-601DFC94A538}" dt="2025-06-13T11:45:44.331" v="964" actId="47"/>
        <pc:sldMkLst>
          <pc:docMk/>
          <pc:sldMk cId="702474907" sldId="1435"/>
        </pc:sldMkLst>
      </pc:sldChg>
      <pc:sldChg chg="del">
        <pc:chgData name="Krishna  Patel" userId="ed2200d0-4eed-40c6-ab36-78bc62005773" providerId="ADAL" clId="{7B184F28-718E-4974-B93F-601DFC94A538}" dt="2025-06-13T11:39:10.101" v="890" actId="47"/>
        <pc:sldMkLst>
          <pc:docMk/>
          <pc:sldMk cId="3136698276" sldId="1436"/>
        </pc:sldMkLst>
      </pc:sldChg>
      <pc:sldChg chg="del">
        <pc:chgData name="Krishna  Patel" userId="ed2200d0-4eed-40c6-ab36-78bc62005773" providerId="ADAL" clId="{7B184F28-718E-4974-B93F-601DFC94A538}" dt="2025-06-13T11:20:34.048" v="820" actId="47"/>
        <pc:sldMkLst>
          <pc:docMk/>
          <pc:sldMk cId="150165841" sldId="1438"/>
        </pc:sldMkLst>
      </pc:sldChg>
      <pc:sldChg chg="del">
        <pc:chgData name="Krishna  Patel" userId="ed2200d0-4eed-40c6-ab36-78bc62005773" providerId="ADAL" clId="{7B184F28-718E-4974-B93F-601DFC94A538}" dt="2025-06-13T11:13:10.487" v="757" actId="47"/>
        <pc:sldMkLst>
          <pc:docMk/>
          <pc:sldMk cId="2013412701" sldId="1439"/>
        </pc:sldMkLst>
      </pc:sldChg>
      <pc:sldChg chg="addSp delSp modSp del mod modClrScheme chgLayout">
        <pc:chgData name="Krishna  Patel" userId="ed2200d0-4eed-40c6-ab36-78bc62005773" providerId="ADAL" clId="{7B184F28-718E-4974-B93F-601DFC94A538}" dt="2025-06-13T11:09:22.957" v="722" actId="47"/>
        <pc:sldMkLst>
          <pc:docMk/>
          <pc:sldMk cId="799131380" sldId="1440"/>
        </pc:sldMkLst>
      </pc:sldChg>
      <pc:sldChg chg="modSp mod">
        <pc:chgData name="Krishna  Patel" userId="ed2200d0-4eed-40c6-ab36-78bc62005773" providerId="ADAL" clId="{7B184F28-718E-4974-B93F-601DFC94A538}" dt="2025-06-13T11:03:21.182" v="675" actId="1035"/>
        <pc:sldMkLst>
          <pc:docMk/>
          <pc:sldMk cId="3195594924" sldId="1441"/>
        </pc:sldMkLst>
        <pc:spChg chg="mod">
          <ac:chgData name="Krishna  Patel" userId="ed2200d0-4eed-40c6-ab36-78bc62005773" providerId="ADAL" clId="{7B184F28-718E-4974-B93F-601DFC94A538}" dt="2025-06-13T11:03:21.182" v="675" actId="1035"/>
          <ac:spMkLst>
            <pc:docMk/>
            <pc:sldMk cId="3195594924" sldId="1441"/>
            <ac:spMk id="2" creationId="{70B93DFC-093C-CA62-DD31-5B210CE92978}"/>
          </ac:spMkLst>
        </pc:spChg>
        <pc:spChg chg="mod">
          <ac:chgData name="Krishna  Patel" userId="ed2200d0-4eed-40c6-ab36-78bc62005773" providerId="ADAL" clId="{7B184F28-718E-4974-B93F-601DFC94A538}" dt="2025-06-13T11:01:45.063" v="647" actId="14100"/>
          <ac:spMkLst>
            <pc:docMk/>
            <pc:sldMk cId="3195594924" sldId="1441"/>
            <ac:spMk id="24" creationId="{F42C1FE6-A55E-B073-9469-649AB7B07ECC}"/>
          </ac:spMkLst>
        </pc:spChg>
        <pc:spChg chg="mod">
          <ac:chgData name="Krishna  Patel" userId="ed2200d0-4eed-40c6-ab36-78bc62005773" providerId="ADAL" clId="{7B184F28-718E-4974-B93F-601DFC94A538}" dt="2025-06-13T11:01:56.859" v="664" actId="1035"/>
          <ac:spMkLst>
            <pc:docMk/>
            <pc:sldMk cId="3195594924" sldId="1441"/>
            <ac:spMk id="25" creationId="{8F714C8C-3F1B-0F58-4BBA-1F8250E944EE}"/>
          </ac:spMkLst>
        </pc:spChg>
        <pc:spChg chg="mod">
          <ac:chgData name="Krishna  Patel" userId="ed2200d0-4eed-40c6-ab36-78bc62005773" providerId="ADAL" clId="{7B184F28-718E-4974-B93F-601DFC94A538}" dt="2025-06-13T11:01:11.136" v="638" actId="1076"/>
          <ac:spMkLst>
            <pc:docMk/>
            <pc:sldMk cId="3195594924" sldId="1441"/>
            <ac:spMk id="26" creationId="{A5D0F8D2-7476-6EFE-FFE5-EDB55073C7B2}"/>
          </ac:spMkLst>
        </pc:spChg>
        <pc:spChg chg="mod">
          <ac:chgData name="Krishna  Patel" userId="ed2200d0-4eed-40c6-ab36-78bc62005773" providerId="ADAL" clId="{7B184F28-718E-4974-B93F-601DFC94A538}" dt="2025-06-13T11:01:11.136" v="638" actId="1076"/>
          <ac:spMkLst>
            <pc:docMk/>
            <pc:sldMk cId="3195594924" sldId="1441"/>
            <ac:spMk id="27" creationId="{FCE62F82-5DA8-A844-9C91-996202485D3F}"/>
          </ac:spMkLst>
        </pc:spChg>
        <pc:spChg chg="mod">
          <ac:chgData name="Krishna  Patel" userId="ed2200d0-4eed-40c6-ab36-78bc62005773" providerId="ADAL" clId="{7B184F28-718E-4974-B93F-601DFC94A538}" dt="2025-06-13T11:01:27.215" v="643" actId="1076"/>
          <ac:spMkLst>
            <pc:docMk/>
            <pc:sldMk cId="3195594924" sldId="1441"/>
            <ac:spMk id="29" creationId="{EB347B48-C485-5F5F-2BF5-EA92FB8A7B76}"/>
          </ac:spMkLst>
        </pc:spChg>
        <pc:spChg chg="mod">
          <ac:chgData name="Krishna  Patel" userId="ed2200d0-4eed-40c6-ab36-78bc62005773" providerId="ADAL" clId="{7B184F28-718E-4974-B93F-601DFC94A538}" dt="2025-06-13T11:01:27.215" v="643" actId="1076"/>
          <ac:spMkLst>
            <pc:docMk/>
            <pc:sldMk cId="3195594924" sldId="1441"/>
            <ac:spMk id="30" creationId="{50F1D046-6F56-1FBA-D137-8EA212EE9313}"/>
          </ac:spMkLst>
        </pc:spChg>
        <pc:spChg chg="mod">
          <ac:chgData name="Krishna  Patel" userId="ed2200d0-4eed-40c6-ab36-78bc62005773" providerId="ADAL" clId="{7B184F28-718E-4974-B93F-601DFC94A538}" dt="2025-06-13T11:01:40.343" v="645" actId="1076"/>
          <ac:spMkLst>
            <pc:docMk/>
            <pc:sldMk cId="3195594924" sldId="1441"/>
            <ac:spMk id="32" creationId="{405EBA84-B8CA-B273-8FB8-F63029C98B11}"/>
          </ac:spMkLst>
        </pc:spChg>
        <pc:spChg chg="mod">
          <ac:chgData name="Krishna  Patel" userId="ed2200d0-4eed-40c6-ab36-78bc62005773" providerId="ADAL" clId="{7B184F28-718E-4974-B93F-601DFC94A538}" dt="2025-06-13T11:01:40.343" v="645" actId="1076"/>
          <ac:spMkLst>
            <pc:docMk/>
            <pc:sldMk cId="3195594924" sldId="1441"/>
            <ac:spMk id="33" creationId="{98AE8A8B-83B8-1D2D-FD82-0251C6DC1608}"/>
          </ac:spMkLst>
        </pc:spChg>
        <pc:spChg chg="mod">
          <ac:chgData name="Krishna  Patel" userId="ed2200d0-4eed-40c6-ab36-78bc62005773" providerId="ADAL" clId="{7B184F28-718E-4974-B93F-601DFC94A538}" dt="2025-06-13T11:01:34.886" v="644" actId="1076"/>
          <ac:spMkLst>
            <pc:docMk/>
            <pc:sldMk cId="3195594924" sldId="1441"/>
            <ac:spMk id="35" creationId="{8FE761C8-81C8-C78A-9A5B-7978E1CF56CC}"/>
          </ac:spMkLst>
        </pc:spChg>
        <pc:spChg chg="mod">
          <ac:chgData name="Krishna  Patel" userId="ed2200d0-4eed-40c6-ab36-78bc62005773" providerId="ADAL" clId="{7B184F28-718E-4974-B93F-601DFC94A538}" dt="2025-06-13T11:01:34.886" v="644" actId="1076"/>
          <ac:spMkLst>
            <pc:docMk/>
            <pc:sldMk cId="3195594924" sldId="1441"/>
            <ac:spMk id="36" creationId="{F76E1B75-A166-B58A-053B-0D5DED0C9A2D}"/>
          </ac:spMkLst>
        </pc:spChg>
      </pc:sldChg>
      <pc:sldChg chg="addSp delSp modSp mod modClrScheme chgLayout">
        <pc:chgData name="Krishna  Patel" userId="ed2200d0-4eed-40c6-ab36-78bc62005773" providerId="ADAL" clId="{7B184F28-718E-4974-B93F-601DFC94A538}" dt="2025-06-13T10:59:59.622" v="633" actId="15"/>
        <pc:sldMkLst>
          <pc:docMk/>
          <pc:sldMk cId="2635961108" sldId="1443"/>
        </pc:sldMkLst>
        <pc:spChg chg="mod ord">
          <ac:chgData name="Krishna  Patel" userId="ed2200d0-4eed-40c6-ab36-78bc62005773" providerId="ADAL" clId="{7B184F28-718E-4974-B93F-601DFC94A538}" dt="2025-06-13T10:56:19.346" v="583" actId="700"/>
          <ac:spMkLst>
            <pc:docMk/>
            <pc:sldMk cId="2635961108" sldId="1443"/>
            <ac:spMk id="2" creationId="{CF802232-3C26-F3B6-B4C7-C8159E0A1CF5}"/>
          </ac:spMkLst>
        </pc:spChg>
        <pc:spChg chg="add mod ord">
          <ac:chgData name="Krishna  Patel" userId="ed2200d0-4eed-40c6-ab36-78bc62005773" providerId="ADAL" clId="{7B184F28-718E-4974-B93F-601DFC94A538}" dt="2025-06-13T10:55:57.473" v="580" actId="1076"/>
          <ac:spMkLst>
            <pc:docMk/>
            <pc:sldMk cId="2635961108" sldId="1443"/>
            <ac:spMk id="5" creationId="{E1319F22-496A-FAA0-F573-0267704678AB}"/>
          </ac:spMkLst>
        </pc:spChg>
        <pc:spChg chg="add mod ord">
          <ac:chgData name="Krishna  Patel" userId="ed2200d0-4eed-40c6-ab36-78bc62005773" providerId="ADAL" clId="{7B184F28-718E-4974-B93F-601DFC94A538}" dt="2025-06-13T10:55:57.473" v="580" actId="1076"/>
          <ac:spMkLst>
            <pc:docMk/>
            <pc:sldMk cId="2635961108" sldId="1443"/>
            <ac:spMk id="6" creationId="{20F09F8B-C8E1-3BB7-F77B-FBB5063EB4DD}"/>
          </ac:spMkLst>
        </pc:spChg>
        <pc:spChg chg="mod">
          <ac:chgData name="Krishna  Patel" userId="ed2200d0-4eed-40c6-ab36-78bc62005773" providerId="ADAL" clId="{7B184F28-718E-4974-B93F-601DFC94A538}" dt="2025-06-13T10:56:34.676" v="586" actId="21"/>
          <ac:spMkLst>
            <pc:docMk/>
            <pc:sldMk cId="2635961108" sldId="1443"/>
            <ac:spMk id="7" creationId="{26259896-5B94-A7E7-040B-F381C3C7B3DB}"/>
          </ac:spMkLst>
        </pc:spChg>
        <pc:spChg chg="mod ord">
          <ac:chgData name="Krishna  Patel" userId="ed2200d0-4eed-40c6-ab36-78bc62005773" providerId="ADAL" clId="{7B184F28-718E-4974-B93F-601DFC94A538}" dt="2025-06-13T10:56:19.346" v="583" actId="700"/>
          <ac:spMkLst>
            <pc:docMk/>
            <pc:sldMk cId="2635961108" sldId="1443"/>
            <ac:spMk id="23" creationId="{6D50F0CD-0985-C7AA-22B8-84FA2C1792CD}"/>
          </ac:spMkLst>
        </pc:spChg>
        <pc:spChg chg="add mod">
          <ac:chgData name="Krishna  Patel" userId="ed2200d0-4eed-40c6-ab36-78bc62005773" providerId="ADAL" clId="{7B184F28-718E-4974-B93F-601DFC94A538}" dt="2025-06-13T10:28:30.899" v="362"/>
          <ac:spMkLst>
            <pc:docMk/>
            <pc:sldMk cId="2635961108" sldId="1443"/>
            <ac:spMk id="24" creationId="{2E6EAE66-4BF7-2ADD-20ED-18AD9B4F3625}"/>
          </ac:spMkLst>
        </pc:spChg>
        <pc:spChg chg="add del mod ord">
          <ac:chgData name="Krishna  Patel" userId="ed2200d0-4eed-40c6-ab36-78bc62005773" providerId="ADAL" clId="{7B184F28-718E-4974-B93F-601DFC94A538}" dt="2025-06-13T10:56:37.266" v="587"/>
          <ac:spMkLst>
            <pc:docMk/>
            <pc:sldMk cId="2635961108" sldId="1443"/>
            <ac:spMk id="26" creationId="{4D7FC310-9C25-9216-AF66-79713C7FA7A5}"/>
          </ac:spMkLst>
        </pc:spChg>
        <pc:spChg chg="add mod ord">
          <ac:chgData name="Krishna  Patel" userId="ed2200d0-4eed-40c6-ab36-78bc62005773" providerId="ADAL" clId="{7B184F28-718E-4974-B93F-601DFC94A538}" dt="2025-06-13T10:56:46.700" v="589"/>
          <ac:spMkLst>
            <pc:docMk/>
            <pc:sldMk cId="2635961108" sldId="1443"/>
            <ac:spMk id="27" creationId="{A0294872-A04A-E689-B5A2-7A01F156A886}"/>
          </ac:spMkLst>
        </pc:spChg>
        <pc:spChg chg="add mod ord">
          <ac:chgData name="Krishna  Patel" userId="ed2200d0-4eed-40c6-ab36-78bc62005773" providerId="ADAL" clId="{7B184F28-718E-4974-B93F-601DFC94A538}" dt="2025-06-13T10:59:59.622" v="633" actId="15"/>
          <ac:spMkLst>
            <pc:docMk/>
            <pc:sldMk cId="2635961108" sldId="1443"/>
            <ac:spMk id="30" creationId="{2087FD8F-72B4-36D6-4089-83E8B5D74C65}"/>
          </ac:spMkLst>
        </pc:spChg>
        <pc:picChg chg="add mod">
          <ac:chgData name="Krishna  Patel" userId="ed2200d0-4eed-40c6-ab36-78bc62005773" providerId="ADAL" clId="{7B184F28-718E-4974-B93F-601DFC94A538}" dt="2025-06-13T10:55:57.473" v="580" actId="1076"/>
          <ac:picMkLst>
            <pc:docMk/>
            <pc:sldMk cId="2635961108" sldId="1443"/>
            <ac:picMk id="4" creationId="{F6C02D9B-5D99-F482-5024-66B460022226}"/>
          </ac:picMkLst>
        </pc:picChg>
      </pc:sldChg>
      <pc:sldChg chg="modSp del mod">
        <pc:chgData name="Krishna  Patel" userId="ed2200d0-4eed-40c6-ab36-78bc62005773" providerId="ADAL" clId="{7B184F28-718E-4974-B93F-601DFC94A538}" dt="2025-06-13T10:55:44.426" v="579" actId="47"/>
        <pc:sldMkLst>
          <pc:docMk/>
          <pc:sldMk cId="3213822245" sldId="1444"/>
        </pc:sldMkLst>
      </pc:sldChg>
      <pc:sldChg chg="del">
        <pc:chgData name="Krishna  Patel" userId="ed2200d0-4eed-40c6-ab36-78bc62005773" providerId="ADAL" clId="{7B184F28-718E-4974-B93F-601DFC94A538}" dt="2025-06-13T10:41:26.169" v="450" actId="47"/>
        <pc:sldMkLst>
          <pc:docMk/>
          <pc:sldMk cId="3791180366" sldId="1445"/>
        </pc:sldMkLst>
      </pc:sldChg>
      <pc:sldChg chg="modSp del">
        <pc:chgData name="Krishna  Patel" userId="ed2200d0-4eed-40c6-ab36-78bc62005773" providerId="ADAL" clId="{7B184F28-718E-4974-B93F-601DFC94A538}" dt="2025-06-13T10:38:34.527" v="414" actId="47"/>
        <pc:sldMkLst>
          <pc:docMk/>
          <pc:sldMk cId="616849497" sldId="1449"/>
        </pc:sldMkLst>
      </pc:sldChg>
      <pc:sldChg chg="modSp">
        <pc:chgData name="Krishna  Patel" userId="ed2200d0-4eed-40c6-ab36-78bc62005773" providerId="ADAL" clId="{7B184F28-718E-4974-B93F-601DFC94A538}" dt="2025-06-13T10:18:42.656" v="330" actId="1038"/>
        <pc:sldMkLst>
          <pc:docMk/>
          <pc:sldMk cId="127296720" sldId="1491"/>
        </pc:sldMkLst>
        <pc:picChg chg="mod">
          <ac:chgData name="Krishna  Patel" userId="ed2200d0-4eed-40c6-ab36-78bc62005773" providerId="ADAL" clId="{7B184F28-718E-4974-B93F-601DFC94A538}" dt="2025-06-13T10:18:42.656" v="330" actId="1038"/>
          <ac:picMkLst>
            <pc:docMk/>
            <pc:sldMk cId="127296720" sldId="1491"/>
            <ac:picMk id="7" creationId="{AF297B3A-FC84-266E-A2C0-A5049A8DD17D}"/>
          </ac:picMkLst>
        </pc:picChg>
      </pc:sldChg>
      <pc:sldChg chg="modSp">
        <pc:chgData name="Krishna  Patel" userId="ed2200d0-4eed-40c6-ab36-78bc62005773" providerId="ADAL" clId="{7B184F28-718E-4974-B93F-601DFC94A538}" dt="2025-06-13T10:18:15.731" v="318" actId="1076"/>
        <pc:sldMkLst>
          <pc:docMk/>
          <pc:sldMk cId="1158807392" sldId="1493"/>
        </pc:sldMkLst>
        <pc:picChg chg="mod">
          <ac:chgData name="Krishna  Patel" userId="ed2200d0-4eed-40c6-ab36-78bc62005773" providerId="ADAL" clId="{7B184F28-718E-4974-B93F-601DFC94A538}" dt="2025-06-13T10:18:15.731" v="318" actId="1076"/>
          <ac:picMkLst>
            <pc:docMk/>
            <pc:sldMk cId="1158807392" sldId="1493"/>
            <ac:picMk id="2052" creationId="{35C8482F-AA58-7515-A6A6-5F971A998E57}"/>
          </ac:picMkLst>
        </pc:picChg>
      </pc:sldChg>
      <pc:sldChg chg="addSp delSp modSp">
        <pc:chgData name="Krishna  Patel" userId="ed2200d0-4eed-40c6-ab36-78bc62005773" providerId="ADAL" clId="{7B184F28-718E-4974-B93F-601DFC94A538}" dt="2025-06-13T10:18:57.983" v="332"/>
        <pc:sldMkLst>
          <pc:docMk/>
          <pc:sldMk cId="88185852" sldId="1499"/>
        </pc:sldMkLst>
        <pc:picChg chg="add mod">
          <ac:chgData name="Krishna  Patel" userId="ed2200d0-4eed-40c6-ab36-78bc62005773" providerId="ADAL" clId="{7B184F28-718E-4974-B93F-601DFC94A538}" dt="2025-06-13T10:18:57.983" v="332"/>
          <ac:picMkLst>
            <pc:docMk/>
            <pc:sldMk cId="88185852" sldId="1499"/>
            <ac:picMk id="7" creationId="{F36E44CA-22FA-9606-24FB-DA4B7A39874A}"/>
          </ac:picMkLst>
        </pc:picChg>
      </pc:sldChg>
      <pc:sldChg chg="addSp delSp modSp mod">
        <pc:chgData name="Krishna  Patel" userId="ed2200d0-4eed-40c6-ab36-78bc62005773" providerId="ADAL" clId="{7B184F28-718E-4974-B93F-601DFC94A538}" dt="2025-06-13T11:55:06.858" v="1054" actId="12"/>
        <pc:sldMkLst>
          <pc:docMk/>
          <pc:sldMk cId="162605456" sldId="1506"/>
        </pc:sldMkLst>
        <pc:spChg chg="mod">
          <ac:chgData name="Krishna  Patel" userId="ed2200d0-4eed-40c6-ab36-78bc62005773" providerId="ADAL" clId="{7B184F28-718E-4974-B93F-601DFC94A538}" dt="2025-06-13T11:54:50.266" v="1052" actId="255"/>
          <ac:spMkLst>
            <pc:docMk/>
            <pc:sldMk cId="162605456" sldId="1506"/>
            <ac:spMk id="3" creationId="{98BCC8C3-E45B-93AF-1C8C-FB2C15DF8F09}"/>
          </ac:spMkLst>
        </pc:spChg>
        <pc:spChg chg="mod">
          <ac:chgData name="Krishna  Patel" userId="ed2200d0-4eed-40c6-ab36-78bc62005773" providerId="ADAL" clId="{7B184F28-718E-4974-B93F-601DFC94A538}" dt="2025-06-13T11:55:06.858" v="1054" actId="12"/>
          <ac:spMkLst>
            <pc:docMk/>
            <pc:sldMk cId="162605456" sldId="1506"/>
            <ac:spMk id="4" creationId="{55A43AE6-35F0-D4E2-DCE2-A7E897CCFD51}"/>
          </ac:spMkLst>
        </pc:spChg>
        <pc:spChg chg="add mod ord">
          <ac:chgData name="Krishna  Patel" userId="ed2200d0-4eed-40c6-ab36-78bc62005773" providerId="ADAL" clId="{7B184F28-718E-4974-B93F-601DFC94A538}" dt="2025-06-13T09:14:22.973" v="130" actId="167"/>
          <ac:spMkLst>
            <pc:docMk/>
            <pc:sldMk cId="162605456" sldId="1506"/>
            <ac:spMk id="8" creationId="{F719F099-AE5A-3525-A605-C9D9E15F2CF0}"/>
          </ac:spMkLst>
        </pc:spChg>
        <pc:spChg chg="add mod">
          <ac:chgData name="Krishna  Patel" userId="ed2200d0-4eed-40c6-ab36-78bc62005773" providerId="ADAL" clId="{7B184F28-718E-4974-B93F-601DFC94A538}" dt="2025-06-13T09:15:29.897" v="141"/>
          <ac:spMkLst>
            <pc:docMk/>
            <pc:sldMk cId="162605456" sldId="1506"/>
            <ac:spMk id="9" creationId="{02EFD804-1BBE-C7C5-E00E-D28852C8E251}"/>
          </ac:spMkLst>
        </pc:spChg>
        <pc:picChg chg="add mod">
          <ac:chgData name="Krishna  Patel" userId="ed2200d0-4eed-40c6-ab36-78bc62005773" providerId="ADAL" clId="{7B184F28-718E-4974-B93F-601DFC94A538}" dt="2025-06-13T09:15:19.420" v="140" actId="1076"/>
          <ac:picMkLst>
            <pc:docMk/>
            <pc:sldMk cId="162605456" sldId="1506"/>
            <ac:picMk id="11" creationId="{1909CFF3-460A-298C-1FC4-B1EBF5800F00}"/>
          </ac:picMkLst>
        </pc:picChg>
      </pc:sldChg>
      <pc:sldChg chg="modSp mod">
        <pc:chgData name="Krishna  Patel" userId="ed2200d0-4eed-40c6-ab36-78bc62005773" providerId="ADAL" clId="{7B184F28-718E-4974-B93F-601DFC94A538}" dt="2025-06-13T10:17:34.955" v="316" actId="1076"/>
        <pc:sldMkLst>
          <pc:docMk/>
          <pc:sldMk cId="117637490" sldId="1511"/>
        </pc:sldMkLst>
        <pc:spChg chg="mod">
          <ac:chgData name="Krishna  Patel" userId="ed2200d0-4eed-40c6-ab36-78bc62005773" providerId="ADAL" clId="{7B184F28-718E-4974-B93F-601DFC94A538}" dt="2025-06-13T10:16:58.711" v="309" actId="1076"/>
          <ac:spMkLst>
            <pc:docMk/>
            <pc:sldMk cId="117637490" sldId="1511"/>
            <ac:spMk id="2" creationId="{60C968A0-D78A-29BD-D370-62067E1C3BF7}"/>
          </ac:spMkLst>
        </pc:spChg>
        <pc:spChg chg="mod">
          <ac:chgData name="Krishna  Patel" userId="ed2200d0-4eed-40c6-ab36-78bc62005773" providerId="ADAL" clId="{7B184F28-718E-4974-B93F-601DFC94A538}" dt="2025-06-13T10:17:04.554" v="310" actId="1076"/>
          <ac:spMkLst>
            <pc:docMk/>
            <pc:sldMk cId="117637490" sldId="1511"/>
            <ac:spMk id="7" creationId="{53B29A34-FBED-8AFF-FF33-EB73C46E3315}"/>
          </ac:spMkLst>
        </pc:spChg>
        <pc:grpChg chg="mod">
          <ac:chgData name="Krishna  Patel" userId="ed2200d0-4eed-40c6-ab36-78bc62005773" providerId="ADAL" clId="{7B184F28-718E-4974-B93F-601DFC94A538}" dt="2025-06-13T10:17:04.554" v="310" actId="1076"/>
          <ac:grpSpMkLst>
            <pc:docMk/>
            <pc:sldMk cId="117637490" sldId="1511"/>
            <ac:grpSpMk id="5" creationId="{2C5527D3-5EB0-32D1-0A11-B370C6B41525}"/>
          </ac:grpSpMkLst>
        </pc:grpChg>
        <pc:grpChg chg="mod">
          <ac:chgData name="Krishna  Patel" userId="ed2200d0-4eed-40c6-ab36-78bc62005773" providerId="ADAL" clId="{7B184F28-718E-4974-B93F-601DFC94A538}" dt="2025-06-13T10:17:04.554" v="310" actId="1076"/>
          <ac:grpSpMkLst>
            <pc:docMk/>
            <pc:sldMk cId="117637490" sldId="1511"/>
            <ac:grpSpMk id="19" creationId="{D7C3D479-B771-8D16-2404-EB2C3B3EE8A3}"/>
          </ac:grpSpMkLst>
        </pc:grpChg>
        <pc:grpChg chg="mod">
          <ac:chgData name="Krishna  Patel" userId="ed2200d0-4eed-40c6-ab36-78bc62005773" providerId="ADAL" clId="{7B184F28-718E-4974-B93F-601DFC94A538}" dt="2025-06-13T10:17:04.554" v="310" actId="1076"/>
          <ac:grpSpMkLst>
            <pc:docMk/>
            <pc:sldMk cId="117637490" sldId="1511"/>
            <ac:grpSpMk id="20" creationId="{71439351-2FD3-6ED0-29B4-799850DF84A7}"/>
          </ac:grpSpMkLst>
        </pc:grpChg>
        <pc:grpChg chg="mod">
          <ac:chgData name="Krishna  Patel" userId="ed2200d0-4eed-40c6-ab36-78bc62005773" providerId="ADAL" clId="{7B184F28-718E-4974-B93F-601DFC94A538}" dt="2025-06-13T10:17:04.554" v="310" actId="1076"/>
          <ac:grpSpMkLst>
            <pc:docMk/>
            <pc:sldMk cId="117637490" sldId="1511"/>
            <ac:grpSpMk id="21" creationId="{D06CC82F-CFB6-FB3E-31F6-29266019891F}"/>
          </ac:grpSpMkLst>
        </pc:grpChg>
        <pc:picChg chg="mod modCrop">
          <ac:chgData name="Krishna  Patel" userId="ed2200d0-4eed-40c6-ab36-78bc62005773" providerId="ADAL" clId="{7B184F28-718E-4974-B93F-601DFC94A538}" dt="2025-06-13T10:17:34.955" v="316" actId="1076"/>
          <ac:picMkLst>
            <pc:docMk/>
            <pc:sldMk cId="117637490" sldId="1511"/>
            <ac:picMk id="24" creationId="{3A85F482-398E-6E90-D092-23F93521B49F}"/>
          </ac:picMkLst>
        </pc:picChg>
      </pc:sldChg>
      <pc:sldChg chg="addSp delSp modSp mod">
        <pc:chgData name="Krishna  Patel" userId="ed2200d0-4eed-40c6-ab36-78bc62005773" providerId="ADAL" clId="{7B184F28-718E-4974-B93F-601DFC94A538}" dt="2025-06-13T10:15:16.651" v="300"/>
        <pc:sldMkLst>
          <pc:docMk/>
          <pc:sldMk cId="3867998531" sldId="1514"/>
        </pc:sldMkLst>
        <pc:spChg chg="mod">
          <ac:chgData name="Krishna  Patel" userId="ed2200d0-4eed-40c6-ab36-78bc62005773" providerId="ADAL" clId="{7B184F28-718E-4974-B93F-601DFC94A538}" dt="2025-06-13T10:15:05.235" v="299" actId="1076"/>
          <ac:spMkLst>
            <pc:docMk/>
            <pc:sldMk cId="3867998531" sldId="1514"/>
            <ac:spMk id="4" creationId="{007123FB-1D56-3B0B-A1BE-BF14A99442A7}"/>
          </ac:spMkLst>
        </pc:spChg>
        <pc:spChg chg="add mod ord">
          <ac:chgData name="Krishna  Patel" userId="ed2200d0-4eed-40c6-ab36-78bc62005773" providerId="ADAL" clId="{7B184F28-718E-4974-B93F-601DFC94A538}" dt="2025-06-13T10:14:57.192" v="297" actId="167"/>
          <ac:spMkLst>
            <pc:docMk/>
            <pc:sldMk cId="3867998531" sldId="1514"/>
            <ac:spMk id="100" creationId="{D3AB3B0F-9235-0C94-0FFA-4C0A0736250D}"/>
          </ac:spMkLst>
        </pc:spChg>
        <pc:spChg chg="add mod ord">
          <ac:chgData name="Krishna  Patel" userId="ed2200d0-4eed-40c6-ab36-78bc62005773" providerId="ADAL" clId="{7B184F28-718E-4974-B93F-601DFC94A538}" dt="2025-06-13T10:15:16.651" v="300"/>
          <ac:spMkLst>
            <pc:docMk/>
            <pc:sldMk cId="3867998531" sldId="1514"/>
            <ac:spMk id="101" creationId="{6B2A9137-0C27-F684-30E2-79B1CB93F38C}"/>
          </ac:spMkLst>
        </pc:spChg>
        <pc:picChg chg="add mod">
          <ac:chgData name="Krishna  Patel" userId="ed2200d0-4eed-40c6-ab36-78bc62005773" providerId="ADAL" clId="{7B184F28-718E-4974-B93F-601DFC94A538}" dt="2025-06-13T10:15:04.714" v="298" actId="1076"/>
          <ac:picMkLst>
            <pc:docMk/>
            <pc:sldMk cId="3867998531" sldId="1514"/>
            <ac:picMk id="99" creationId="{33A7B65E-877C-BA06-181A-A7B56837D743}"/>
          </ac:picMkLst>
        </pc:picChg>
      </pc:sldChg>
      <pc:sldChg chg="addSp delSp modSp mod">
        <pc:chgData name="Krishna  Patel" userId="ed2200d0-4eed-40c6-ab36-78bc62005773" providerId="ADAL" clId="{7B184F28-718E-4974-B93F-601DFC94A538}" dt="2025-06-13T10:03:38.674" v="277" actId="1076"/>
        <pc:sldMkLst>
          <pc:docMk/>
          <pc:sldMk cId="449362144" sldId="1520"/>
        </pc:sldMkLst>
        <pc:spChg chg="mod">
          <ac:chgData name="Krishna  Patel" userId="ed2200d0-4eed-40c6-ab36-78bc62005773" providerId="ADAL" clId="{7B184F28-718E-4974-B93F-601DFC94A538}" dt="2025-06-13T10:01:49.853" v="247" actId="1076"/>
          <ac:spMkLst>
            <pc:docMk/>
            <pc:sldMk cId="449362144" sldId="1520"/>
            <ac:spMk id="19" creationId="{CCED3B66-948B-0CC0-84B1-97237C15DBD3}"/>
          </ac:spMkLst>
        </pc:spChg>
        <pc:spChg chg="add del mod ord">
          <ac:chgData name="Krishna  Patel" userId="ed2200d0-4eed-40c6-ab36-78bc62005773" providerId="ADAL" clId="{7B184F28-718E-4974-B93F-601DFC94A538}" dt="2025-06-13T10:03:26.502" v="274" actId="1076"/>
          <ac:spMkLst>
            <pc:docMk/>
            <pc:sldMk cId="449362144" sldId="1520"/>
            <ac:spMk id="44" creationId="{089AC421-4528-91F3-93CF-2EF0A27DD467}"/>
          </ac:spMkLst>
        </pc:spChg>
        <pc:spChg chg="add mod">
          <ac:chgData name="Krishna  Patel" userId="ed2200d0-4eed-40c6-ab36-78bc62005773" providerId="ADAL" clId="{7B184F28-718E-4974-B93F-601DFC94A538}" dt="2025-06-13T10:03:38.674" v="277" actId="1076"/>
          <ac:spMkLst>
            <pc:docMk/>
            <pc:sldMk cId="449362144" sldId="1520"/>
            <ac:spMk id="45" creationId="{3553AEAC-4E36-51C5-DB2F-E2BE54A22005}"/>
          </ac:spMkLst>
        </pc:spChg>
        <pc:grpChg chg="mod">
          <ac:chgData name="Krishna  Patel" userId="ed2200d0-4eed-40c6-ab36-78bc62005773" providerId="ADAL" clId="{7B184F28-718E-4974-B93F-601DFC94A538}" dt="2025-06-13T10:01:49.853" v="247" actId="1076"/>
          <ac:grpSpMkLst>
            <pc:docMk/>
            <pc:sldMk cId="449362144" sldId="1520"/>
            <ac:grpSpMk id="36" creationId="{B2B1AF0A-4573-462E-0E51-0AD8D9384C18}"/>
          </ac:grpSpMkLst>
        </pc:grpChg>
        <pc:grpChg chg="mod">
          <ac:chgData name="Krishna  Patel" userId="ed2200d0-4eed-40c6-ab36-78bc62005773" providerId="ADAL" clId="{7B184F28-718E-4974-B93F-601DFC94A538}" dt="2025-06-13T10:01:49.853" v="247" actId="1076"/>
          <ac:grpSpMkLst>
            <pc:docMk/>
            <pc:sldMk cId="449362144" sldId="1520"/>
            <ac:grpSpMk id="37" creationId="{D945424A-9BE0-50E3-3436-385EA04524B0}"/>
          </ac:grpSpMkLst>
        </pc:grpChg>
        <pc:grpChg chg="mod">
          <ac:chgData name="Krishna  Patel" userId="ed2200d0-4eed-40c6-ab36-78bc62005773" providerId="ADAL" clId="{7B184F28-718E-4974-B93F-601DFC94A538}" dt="2025-06-13T10:01:49.853" v="247" actId="1076"/>
          <ac:grpSpMkLst>
            <pc:docMk/>
            <pc:sldMk cId="449362144" sldId="1520"/>
            <ac:grpSpMk id="38" creationId="{4A8BB277-6048-0E1F-C920-E46D29ED0414}"/>
          </ac:grpSpMkLst>
        </pc:grpChg>
        <pc:grpChg chg="mod">
          <ac:chgData name="Krishna  Patel" userId="ed2200d0-4eed-40c6-ab36-78bc62005773" providerId="ADAL" clId="{7B184F28-718E-4974-B93F-601DFC94A538}" dt="2025-06-13T10:01:49.853" v="247" actId="1076"/>
          <ac:grpSpMkLst>
            <pc:docMk/>
            <pc:sldMk cId="449362144" sldId="1520"/>
            <ac:grpSpMk id="39" creationId="{4AC89E27-081E-BC5B-C042-7A652E828681}"/>
          </ac:grpSpMkLst>
        </pc:grpChg>
        <pc:grpChg chg="mod">
          <ac:chgData name="Krishna  Patel" userId="ed2200d0-4eed-40c6-ab36-78bc62005773" providerId="ADAL" clId="{7B184F28-718E-4974-B93F-601DFC94A538}" dt="2025-06-13T10:01:49.853" v="247" actId="1076"/>
          <ac:grpSpMkLst>
            <pc:docMk/>
            <pc:sldMk cId="449362144" sldId="1520"/>
            <ac:grpSpMk id="40" creationId="{8420CE16-EC1E-0BCD-DCCC-50D27D182EC3}"/>
          </ac:grpSpMkLst>
        </pc:grpChg>
        <pc:grpChg chg="mod">
          <ac:chgData name="Krishna  Patel" userId="ed2200d0-4eed-40c6-ab36-78bc62005773" providerId="ADAL" clId="{7B184F28-718E-4974-B93F-601DFC94A538}" dt="2025-06-13T10:01:49.853" v="247" actId="1076"/>
          <ac:grpSpMkLst>
            <pc:docMk/>
            <pc:sldMk cId="449362144" sldId="1520"/>
            <ac:grpSpMk id="41" creationId="{1CB8A2DD-1F5D-048E-AEE8-5E3F0073FCAD}"/>
          </ac:grpSpMkLst>
        </pc:grpChg>
        <pc:picChg chg="add mod">
          <ac:chgData name="Krishna  Patel" userId="ed2200d0-4eed-40c6-ab36-78bc62005773" providerId="ADAL" clId="{7B184F28-718E-4974-B93F-601DFC94A538}" dt="2025-06-13T10:03:30.797" v="275" actId="1076"/>
          <ac:picMkLst>
            <pc:docMk/>
            <pc:sldMk cId="449362144" sldId="1520"/>
            <ac:picMk id="43" creationId="{4BEF2648-B4A2-9FB0-981B-6D8D28978CA6}"/>
          </ac:picMkLst>
        </pc:picChg>
      </pc:sldChg>
      <pc:sldChg chg="addSp delSp modSp mod">
        <pc:chgData name="Krishna  Patel" userId="ed2200d0-4eed-40c6-ab36-78bc62005773" providerId="ADAL" clId="{7B184F28-718E-4974-B93F-601DFC94A538}" dt="2025-06-13T09:56:49.095" v="236" actId="1076"/>
        <pc:sldMkLst>
          <pc:docMk/>
          <pc:sldMk cId="2921432197" sldId="1521"/>
        </pc:sldMkLst>
        <pc:spChg chg="add mod ord">
          <ac:chgData name="Krishna  Patel" userId="ed2200d0-4eed-40c6-ab36-78bc62005773" providerId="ADAL" clId="{7B184F28-718E-4974-B93F-601DFC94A538}" dt="2025-06-13T09:56:45.377" v="235" actId="167"/>
          <ac:spMkLst>
            <pc:docMk/>
            <pc:sldMk cId="2921432197" sldId="1521"/>
            <ac:spMk id="15" creationId="{9DEEA362-81DE-719D-C06D-7275AF2D6E86}"/>
          </ac:spMkLst>
        </pc:spChg>
        <pc:picChg chg="add mod">
          <ac:chgData name="Krishna  Patel" userId="ed2200d0-4eed-40c6-ab36-78bc62005773" providerId="ADAL" clId="{7B184F28-718E-4974-B93F-601DFC94A538}" dt="2025-06-13T09:56:49.095" v="236" actId="1076"/>
          <ac:picMkLst>
            <pc:docMk/>
            <pc:sldMk cId="2921432197" sldId="1521"/>
            <ac:picMk id="14" creationId="{AC600D50-89D9-97E4-2483-751F74F7351B}"/>
          </ac:picMkLst>
        </pc:picChg>
      </pc:sldChg>
      <pc:sldChg chg="addSp delSp modSp mod">
        <pc:chgData name="Krishna  Patel" userId="ed2200d0-4eed-40c6-ab36-78bc62005773" providerId="ADAL" clId="{7B184F28-718E-4974-B93F-601DFC94A538}" dt="2025-06-13T09:45:00.949" v="215" actId="478"/>
        <pc:sldMkLst>
          <pc:docMk/>
          <pc:sldMk cId="1698335145" sldId="1523"/>
        </pc:sldMkLst>
        <pc:spChg chg="mod">
          <ac:chgData name="Krishna  Patel" userId="ed2200d0-4eed-40c6-ab36-78bc62005773" providerId="ADAL" clId="{7B184F28-718E-4974-B93F-601DFC94A538}" dt="2025-06-13T09:43:46.964" v="203" actId="1076"/>
          <ac:spMkLst>
            <pc:docMk/>
            <pc:sldMk cId="1698335145" sldId="1523"/>
            <ac:spMk id="4" creationId="{E86F1C0B-C61C-E50A-D139-FDF7CA719DFB}"/>
          </ac:spMkLst>
        </pc:spChg>
        <pc:spChg chg="add mod ord">
          <ac:chgData name="Krishna  Patel" userId="ed2200d0-4eed-40c6-ab36-78bc62005773" providerId="ADAL" clId="{7B184F28-718E-4974-B93F-601DFC94A538}" dt="2025-06-13T09:44:16.325" v="209" actId="167"/>
          <ac:spMkLst>
            <pc:docMk/>
            <pc:sldMk cId="1698335145" sldId="1523"/>
            <ac:spMk id="12" creationId="{091C3671-7529-586D-61EF-E695FBB37C71}"/>
          </ac:spMkLst>
        </pc:spChg>
        <pc:spChg chg="add mod ord">
          <ac:chgData name="Krishna  Patel" userId="ed2200d0-4eed-40c6-ab36-78bc62005773" providerId="ADAL" clId="{7B184F28-718E-4974-B93F-601DFC94A538}" dt="2025-06-13T09:44:35.450" v="214"/>
          <ac:spMkLst>
            <pc:docMk/>
            <pc:sldMk cId="1698335145" sldId="1523"/>
            <ac:spMk id="13" creationId="{DA0418E3-2F48-F425-2FA0-C220F6AE92A0}"/>
          </ac:spMkLst>
        </pc:spChg>
        <pc:picChg chg="add mod">
          <ac:chgData name="Krishna  Patel" userId="ed2200d0-4eed-40c6-ab36-78bc62005773" providerId="ADAL" clId="{7B184F28-718E-4974-B93F-601DFC94A538}" dt="2025-06-13T09:44:27.002" v="213" actId="1076"/>
          <ac:picMkLst>
            <pc:docMk/>
            <pc:sldMk cId="1698335145" sldId="1523"/>
            <ac:picMk id="11" creationId="{73D88CD6-AC95-8D78-7A43-F9CFB6E6708F}"/>
          </ac:picMkLst>
        </pc:picChg>
      </pc:sldChg>
      <pc:sldChg chg="addSp delSp modSp add mod modClrScheme chgLayout">
        <pc:chgData name="Krishna  Patel" userId="ed2200d0-4eed-40c6-ab36-78bc62005773" providerId="ADAL" clId="{7B184F28-718E-4974-B93F-601DFC94A538}" dt="2025-06-13T10:38:20.957" v="413" actId="15"/>
        <pc:sldMkLst>
          <pc:docMk/>
          <pc:sldMk cId="3936120284" sldId="1528"/>
        </pc:sldMkLst>
        <pc:spChg chg="mod ord">
          <ac:chgData name="Krishna  Patel" userId="ed2200d0-4eed-40c6-ab36-78bc62005773" providerId="ADAL" clId="{7B184F28-718E-4974-B93F-601DFC94A538}" dt="2025-06-13T10:33:15.552" v="366" actId="700"/>
          <ac:spMkLst>
            <pc:docMk/>
            <pc:sldMk cId="3936120284" sldId="1528"/>
            <ac:spMk id="2" creationId="{1B9F3F68-8F3C-A68D-7814-F562FFB48CED}"/>
          </ac:spMkLst>
        </pc:spChg>
        <pc:spChg chg="mod ord">
          <ac:chgData name="Krishna  Patel" userId="ed2200d0-4eed-40c6-ab36-78bc62005773" providerId="ADAL" clId="{7B184F28-718E-4974-B93F-601DFC94A538}" dt="2025-06-13T10:33:15.552" v="366" actId="700"/>
          <ac:spMkLst>
            <pc:docMk/>
            <pc:sldMk cId="3936120284" sldId="1528"/>
            <ac:spMk id="20" creationId="{12C03CCD-BF52-F598-0B52-3E44F537BDC5}"/>
          </ac:spMkLst>
        </pc:spChg>
        <pc:spChg chg="mod ord">
          <ac:chgData name="Krishna  Patel" userId="ed2200d0-4eed-40c6-ab36-78bc62005773" providerId="ADAL" clId="{7B184F28-718E-4974-B93F-601DFC94A538}" dt="2025-06-13T10:33:15.552" v="366" actId="700"/>
          <ac:spMkLst>
            <pc:docMk/>
            <pc:sldMk cId="3936120284" sldId="1528"/>
            <ac:spMk id="21" creationId="{EB216661-879D-2EF7-FEEB-C06ECCB4B360}"/>
          </ac:spMkLst>
        </pc:spChg>
      </pc:sldChg>
      <pc:sldChg chg="new del">
        <pc:chgData name="Krishna  Patel" userId="ed2200d0-4eed-40c6-ab36-78bc62005773" providerId="ADAL" clId="{7B184F28-718E-4974-B93F-601DFC94A538}" dt="2025-06-13T10:36:38.024" v="389" actId="680"/>
        <pc:sldMkLst>
          <pc:docMk/>
          <pc:sldMk cId="3456191944" sldId="1529"/>
        </pc:sldMkLst>
      </pc:sldChg>
      <pc:sldChg chg="addSp delSp modSp add mod chgLayout">
        <pc:chgData name="Krishna  Patel" userId="ed2200d0-4eed-40c6-ab36-78bc62005773" providerId="ADAL" clId="{7B184F28-718E-4974-B93F-601DFC94A538}" dt="2025-06-13T10:41:17.575" v="449" actId="15"/>
        <pc:sldMkLst>
          <pc:docMk/>
          <pc:sldMk cId="3508632382" sldId="1529"/>
        </pc:sldMkLst>
        <pc:spChg chg="mod ord">
          <ac:chgData name="Krishna  Patel" userId="ed2200d0-4eed-40c6-ab36-78bc62005773" providerId="ADAL" clId="{7B184F28-718E-4974-B93F-601DFC94A538}" dt="2025-06-13T10:39:10.596" v="416" actId="700"/>
          <ac:spMkLst>
            <pc:docMk/>
            <pc:sldMk cId="3508632382" sldId="1529"/>
            <ac:spMk id="2" creationId="{C649BD0A-D909-97F1-559F-FE2796BA9FFA}"/>
          </ac:spMkLst>
        </pc:spChg>
        <pc:spChg chg="add mod ord">
          <ac:chgData name="Krishna  Patel" userId="ed2200d0-4eed-40c6-ab36-78bc62005773" providerId="ADAL" clId="{7B184F28-718E-4974-B93F-601DFC94A538}" dt="2025-06-13T10:41:17.575" v="449" actId="15"/>
          <ac:spMkLst>
            <pc:docMk/>
            <pc:sldMk cId="3508632382" sldId="1529"/>
            <ac:spMk id="3" creationId="{0EF4E9CF-6D34-F97D-95B0-0AAE7405DE96}"/>
          </ac:spMkLst>
        </pc:spChg>
        <pc:spChg chg="mod">
          <ac:chgData name="Krishna  Patel" userId="ed2200d0-4eed-40c6-ab36-78bc62005773" providerId="ADAL" clId="{7B184F28-718E-4974-B93F-601DFC94A538}" dt="2025-06-13T10:39:14.920" v="417" actId="21"/>
          <ac:spMkLst>
            <pc:docMk/>
            <pc:sldMk cId="3508632382" sldId="1529"/>
            <ac:spMk id="7" creationId="{4DF4F04D-4046-A174-7265-D8F4E945AD7A}"/>
          </ac:spMkLst>
        </pc:spChg>
        <pc:spChg chg="mod ord">
          <ac:chgData name="Krishna  Patel" userId="ed2200d0-4eed-40c6-ab36-78bc62005773" providerId="ADAL" clId="{7B184F28-718E-4974-B93F-601DFC94A538}" dt="2025-06-13T10:39:10.596" v="416" actId="700"/>
          <ac:spMkLst>
            <pc:docMk/>
            <pc:sldMk cId="3508632382" sldId="1529"/>
            <ac:spMk id="68" creationId="{8618AEB9-3801-9253-E004-15E492CE0CED}"/>
          </ac:spMkLst>
        </pc:spChg>
        <pc:spChg chg="mod ord">
          <ac:chgData name="Krishna  Patel" userId="ed2200d0-4eed-40c6-ab36-78bc62005773" providerId="ADAL" clId="{7B184F28-718E-4974-B93F-601DFC94A538}" dt="2025-06-13T10:39:10.596" v="416" actId="700"/>
          <ac:spMkLst>
            <pc:docMk/>
            <pc:sldMk cId="3508632382" sldId="1529"/>
            <ac:spMk id="69" creationId="{1C98D55D-3DC8-C2F5-DCB8-D81AD15E3840}"/>
          </ac:spMkLst>
        </pc:spChg>
      </pc:sldChg>
      <pc:sldChg chg="addSp delSp modSp add mod modClrScheme chgLayout">
        <pc:chgData name="Krishna  Patel" userId="ed2200d0-4eed-40c6-ab36-78bc62005773" providerId="ADAL" clId="{7B184F28-718E-4974-B93F-601DFC94A538}" dt="2025-06-13T10:55:35.995" v="578" actId="478"/>
        <pc:sldMkLst>
          <pc:docMk/>
          <pc:sldMk cId="2783753630" sldId="1530"/>
        </pc:sldMkLst>
        <pc:spChg chg="mod ord">
          <ac:chgData name="Krishna  Patel" userId="ed2200d0-4eed-40c6-ab36-78bc62005773" providerId="ADAL" clId="{7B184F28-718E-4974-B93F-601DFC94A538}" dt="2025-06-13T10:46:24.095" v="461" actId="700"/>
          <ac:spMkLst>
            <pc:docMk/>
            <pc:sldMk cId="2783753630" sldId="1530"/>
            <ac:spMk id="2" creationId="{66EF9D16-A17A-CB43-B5E6-B8693F6E7F85}"/>
          </ac:spMkLst>
        </pc:spChg>
        <pc:spChg chg="mod">
          <ac:chgData name="Krishna  Patel" userId="ed2200d0-4eed-40c6-ab36-78bc62005773" providerId="ADAL" clId="{7B184F28-718E-4974-B93F-601DFC94A538}" dt="2025-06-13T10:49:59.488" v="515" actId="1076"/>
          <ac:spMkLst>
            <pc:docMk/>
            <pc:sldMk cId="2783753630" sldId="1530"/>
            <ac:spMk id="3" creationId="{4C673A74-3760-191C-03EC-912316A8EB72}"/>
          </ac:spMkLst>
        </pc:spChg>
        <pc:spChg chg="add mod ord">
          <ac:chgData name="Krishna  Patel" userId="ed2200d0-4eed-40c6-ab36-78bc62005773" providerId="ADAL" clId="{7B184F28-718E-4974-B93F-601DFC94A538}" dt="2025-06-13T10:54:20.734" v="567" actId="207"/>
          <ac:spMkLst>
            <pc:docMk/>
            <pc:sldMk cId="2783753630" sldId="1530"/>
            <ac:spMk id="5" creationId="{C2D4F2A9-FA00-9943-28B8-351F0460EF92}"/>
          </ac:spMkLst>
        </pc:spChg>
        <pc:spChg chg="add mod ord">
          <ac:chgData name="Krishna  Patel" userId="ed2200d0-4eed-40c6-ab36-78bc62005773" providerId="ADAL" clId="{7B184F28-718E-4974-B93F-601DFC94A538}" dt="2025-06-13T10:47:06.301" v="472" actId="113"/>
          <ac:spMkLst>
            <pc:docMk/>
            <pc:sldMk cId="2783753630" sldId="1530"/>
            <ac:spMk id="7" creationId="{E254264B-F855-1DB0-657E-F1A4D476230A}"/>
          </ac:spMkLst>
        </pc:spChg>
        <pc:spChg chg="add mod ord">
          <ac:chgData name="Krishna  Patel" userId="ed2200d0-4eed-40c6-ab36-78bc62005773" providerId="ADAL" clId="{7B184F28-718E-4974-B93F-601DFC94A538}" dt="2025-06-13T10:54:31.543" v="569" actId="207"/>
          <ac:spMkLst>
            <pc:docMk/>
            <pc:sldMk cId="2783753630" sldId="1530"/>
            <ac:spMk id="8" creationId="{FC84C9F7-09A7-28F9-C1A1-AA2DA9BCE97A}"/>
          </ac:spMkLst>
        </pc:spChg>
        <pc:spChg chg="mod ord">
          <ac:chgData name="Krishna  Patel" userId="ed2200d0-4eed-40c6-ab36-78bc62005773" providerId="ADAL" clId="{7B184F28-718E-4974-B93F-601DFC94A538}" dt="2025-06-13T10:46:24.095" v="461" actId="700"/>
          <ac:spMkLst>
            <pc:docMk/>
            <pc:sldMk cId="2783753630" sldId="1530"/>
            <ac:spMk id="56" creationId="{9DB5984E-71BF-21B3-2B84-34250329A224}"/>
          </ac:spMkLst>
        </pc:spChg>
        <pc:spChg chg="mod">
          <ac:chgData name="Krishna  Patel" userId="ed2200d0-4eed-40c6-ab36-78bc62005773" providerId="ADAL" clId="{7B184F28-718E-4974-B93F-601DFC94A538}" dt="2025-06-13T10:50:41.279" v="524" actId="1076"/>
          <ac:spMkLst>
            <pc:docMk/>
            <pc:sldMk cId="2783753630" sldId="1530"/>
            <ac:spMk id="57" creationId="{EAF0F295-2712-3255-B0D4-705EA901D9A0}"/>
          </ac:spMkLst>
        </pc:spChg>
        <pc:spChg chg="add mod ord">
          <ac:chgData name="Krishna  Patel" userId="ed2200d0-4eed-40c6-ab36-78bc62005773" providerId="ADAL" clId="{7B184F28-718E-4974-B93F-601DFC94A538}" dt="2025-06-13T10:47:06.301" v="472" actId="113"/>
          <ac:spMkLst>
            <pc:docMk/>
            <pc:sldMk cId="2783753630" sldId="1530"/>
            <ac:spMk id="58" creationId="{C59FCE71-5346-5D10-A681-2A01D4F3D501}"/>
          </ac:spMkLst>
        </pc:spChg>
        <pc:spChg chg="add mod ord">
          <ac:chgData name="Krishna  Patel" userId="ed2200d0-4eed-40c6-ab36-78bc62005773" providerId="ADAL" clId="{7B184F28-718E-4974-B93F-601DFC94A538}" dt="2025-06-13T10:54:39.611" v="571" actId="207"/>
          <ac:spMkLst>
            <pc:docMk/>
            <pc:sldMk cId="2783753630" sldId="1530"/>
            <ac:spMk id="59" creationId="{0E6E8552-BAE5-F4A5-D9EA-211A66149F77}"/>
          </ac:spMkLst>
        </pc:spChg>
        <pc:spChg chg="add mod ord">
          <ac:chgData name="Krishna  Patel" userId="ed2200d0-4eed-40c6-ab36-78bc62005773" providerId="ADAL" clId="{7B184F28-718E-4974-B93F-601DFC94A538}" dt="2025-06-13T10:47:06.301" v="472" actId="113"/>
          <ac:spMkLst>
            <pc:docMk/>
            <pc:sldMk cId="2783753630" sldId="1530"/>
            <ac:spMk id="60" creationId="{CD82A91B-B24F-3F51-0878-2BDAE9F9E251}"/>
          </ac:spMkLst>
        </pc:spChg>
        <pc:spChg chg="add mod ord">
          <ac:chgData name="Krishna  Patel" userId="ed2200d0-4eed-40c6-ab36-78bc62005773" providerId="ADAL" clId="{7B184F28-718E-4974-B93F-601DFC94A538}" dt="2025-06-13T10:55:31.392" v="577" actId="207"/>
          <ac:spMkLst>
            <pc:docMk/>
            <pc:sldMk cId="2783753630" sldId="1530"/>
            <ac:spMk id="61" creationId="{14527AD8-FEEF-8161-3514-CF36932D5EEC}"/>
          </ac:spMkLst>
        </pc:spChg>
        <pc:spChg chg="add mod ord">
          <ac:chgData name="Krishna  Patel" userId="ed2200d0-4eed-40c6-ab36-78bc62005773" providerId="ADAL" clId="{7B184F28-718E-4974-B93F-601DFC94A538}" dt="2025-06-13T10:47:06.301" v="472" actId="113"/>
          <ac:spMkLst>
            <pc:docMk/>
            <pc:sldMk cId="2783753630" sldId="1530"/>
            <ac:spMk id="62" creationId="{BB15D844-C152-BFD4-7BB9-C87F92A9629D}"/>
          </ac:spMkLst>
        </pc:spChg>
      </pc:sldChg>
      <pc:sldChg chg="addSp delSp modSp add mod modClrScheme chgLayout">
        <pc:chgData name="Krishna  Patel" userId="ed2200d0-4eed-40c6-ab36-78bc62005773" providerId="ADAL" clId="{7B184F28-718E-4974-B93F-601DFC94A538}" dt="2025-06-13T11:13:01.492" v="756" actId="3064"/>
        <pc:sldMkLst>
          <pc:docMk/>
          <pc:sldMk cId="1877375160" sldId="1531"/>
        </pc:sldMkLst>
        <pc:spChg chg="mod ord">
          <ac:chgData name="Krishna  Patel" userId="ed2200d0-4eed-40c6-ab36-78bc62005773" providerId="ADAL" clId="{7B184F28-718E-4974-B93F-601DFC94A538}" dt="2025-06-13T11:02:45.927" v="668" actId="700"/>
          <ac:spMkLst>
            <pc:docMk/>
            <pc:sldMk cId="1877375160" sldId="1531"/>
            <ac:spMk id="2" creationId="{F8DEE4AB-E2B6-D61E-F1FB-D35C40E96D33}"/>
          </ac:spMkLst>
        </pc:spChg>
        <pc:spChg chg="add mod ord">
          <ac:chgData name="Krishna  Patel" userId="ed2200d0-4eed-40c6-ab36-78bc62005773" providerId="ADAL" clId="{7B184F28-718E-4974-B93F-601DFC94A538}" dt="2025-06-13T11:08:40.753" v="716" actId="3064"/>
          <ac:spMkLst>
            <pc:docMk/>
            <pc:sldMk cId="1877375160" sldId="1531"/>
            <ac:spMk id="5" creationId="{06134507-591E-9B63-32E4-DD9802566E55}"/>
          </ac:spMkLst>
        </pc:spChg>
        <pc:spChg chg="add mod ord">
          <ac:chgData name="Krishna  Patel" userId="ed2200d0-4eed-40c6-ab36-78bc62005773" providerId="ADAL" clId="{7B184F28-718E-4974-B93F-601DFC94A538}" dt="2025-06-13T11:13:01.492" v="756" actId="3064"/>
          <ac:spMkLst>
            <pc:docMk/>
            <pc:sldMk cId="1877375160" sldId="1531"/>
            <ac:spMk id="24" creationId="{8679BE2D-464E-DFD2-1F52-04C886604E62}"/>
          </ac:spMkLst>
        </pc:spChg>
        <pc:spChg chg="mod ord">
          <ac:chgData name="Krishna  Patel" userId="ed2200d0-4eed-40c6-ab36-78bc62005773" providerId="ADAL" clId="{7B184F28-718E-4974-B93F-601DFC94A538}" dt="2025-06-13T11:02:45.927" v="668" actId="700"/>
          <ac:spMkLst>
            <pc:docMk/>
            <pc:sldMk cId="1877375160" sldId="1531"/>
            <ac:spMk id="58" creationId="{FF7260D1-6122-DC68-16F2-1B443998F65E}"/>
          </ac:spMkLst>
        </pc:spChg>
        <pc:spChg chg="mod ord">
          <ac:chgData name="Krishna  Patel" userId="ed2200d0-4eed-40c6-ab36-78bc62005773" providerId="ADAL" clId="{7B184F28-718E-4974-B93F-601DFC94A538}" dt="2025-06-13T11:02:45.927" v="668" actId="700"/>
          <ac:spMkLst>
            <pc:docMk/>
            <pc:sldMk cId="1877375160" sldId="1531"/>
            <ac:spMk id="59" creationId="{E6BC226D-0DBD-417D-00BA-EF154A3061EE}"/>
          </ac:spMkLst>
        </pc:spChg>
      </pc:sldChg>
      <pc:sldChg chg="new del">
        <pc:chgData name="Krishna  Patel" userId="ed2200d0-4eed-40c6-ab36-78bc62005773" providerId="ADAL" clId="{7B184F28-718E-4974-B93F-601DFC94A538}" dt="2025-06-13T10:46:15.008" v="458" actId="47"/>
        <pc:sldMkLst>
          <pc:docMk/>
          <pc:sldMk cId="2275788320" sldId="1531"/>
        </pc:sldMkLst>
      </pc:sldChg>
      <pc:sldChg chg="add del">
        <pc:chgData name="Krishna  Patel" userId="ed2200d0-4eed-40c6-ab36-78bc62005773" providerId="ADAL" clId="{7B184F28-718E-4974-B93F-601DFC94A538}" dt="2025-06-13T10:46:18.595" v="460"/>
        <pc:sldMkLst>
          <pc:docMk/>
          <pc:sldMk cId="2949520787" sldId="1531"/>
        </pc:sldMkLst>
      </pc:sldChg>
      <pc:sldChg chg="new del">
        <pc:chgData name="Krishna  Patel" userId="ed2200d0-4eed-40c6-ab36-78bc62005773" providerId="ADAL" clId="{7B184F28-718E-4974-B93F-601DFC94A538}" dt="2025-06-13T10:56:12.048" v="582" actId="680"/>
        <pc:sldMkLst>
          <pc:docMk/>
          <pc:sldMk cId="3211310701" sldId="1531"/>
        </pc:sldMkLst>
      </pc:sldChg>
      <pc:sldChg chg="modSp add mod ord">
        <pc:chgData name="Krishna  Patel" userId="ed2200d0-4eed-40c6-ab36-78bc62005773" providerId="ADAL" clId="{7B184F28-718E-4974-B93F-601DFC94A538}" dt="2025-06-13T11:13:27.335" v="759" actId="207"/>
        <pc:sldMkLst>
          <pc:docMk/>
          <pc:sldMk cId="2837506100" sldId="1532"/>
        </pc:sldMkLst>
        <pc:spChg chg="mod">
          <ac:chgData name="Krishna  Patel" userId="ed2200d0-4eed-40c6-ab36-78bc62005773" providerId="ADAL" clId="{7B184F28-718E-4974-B93F-601DFC94A538}" dt="2025-06-13T11:13:20.607" v="758" actId="207"/>
          <ac:spMkLst>
            <pc:docMk/>
            <pc:sldMk cId="2837506100" sldId="1532"/>
            <ac:spMk id="5" creationId="{4F739E82-6852-CA6A-0059-56898CA6AE53}"/>
          </ac:spMkLst>
        </pc:spChg>
        <pc:spChg chg="mod">
          <ac:chgData name="Krishna  Patel" userId="ed2200d0-4eed-40c6-ab36-78bc62005773" providerId="ADAL" clId="{7B184F28-718E-4974-B93F-601DFC94A538}" dt="2025-06-13T11:13:27.335" v="759" actId="207"/>
          <ac:spMkLst>
            <pc:docMk/>
            <pc:sldMk cId="2837506100" sldId="1532"/>
            <ac:spMk id="24" creationId="{837DD541-D3DB-4C96-7298-3B49011D8701}"/>
          </ac:spMkLst>
        </pc:spChg>
      </pc:sldChg>
      <pc:sldChg chg="addSp delSp modSp new mod">
        <pc:chgData name="Krishna  Patel" userId="ed2200d0-4eed-40c6-ab36-78bc62005773" providerId="ADAL" clId="{7B184F28-718E-4974-B93F-601DFC94A538}" dt="2025-06-13T11:20:43.382" v="821" actId="14"/>
        <pc:sldMkLst>
          <pc:docMk/>
          <pc:sldMk cId="3710522729" sldId="1533"/>
        </pc:sldMkLst>
        <pc:spChg chg="mod">
          <ac:chgData name="Krishna  Patel" userId="ed2200d0-4eed-40c6-ab36-78bc62005773" providerId="ADAL" clId="{7B184F28-718E-4974-B93F-601DFC94A538}" dt="2025-06-13T11:14:08.291" v="761"/>
          <ac:spMkLst>
            <pc:docMk/>
            <pc:sldMk cId="3710522729" sldId="1533"/>
            <ac:spMk id="2" creationId="{C56EB967-0BB0-CF50-EF9A-37C3FC079318}"/>
          </ac:spMkLst>
        </pc:spChg>
        <pc:spChg chg="mod">
          <ac:chgData name="Krishna  Patel" userId="ed2200d0-4eed-40c6-ab36-78bc62005773" providerId="ADAL" clId="{7B184F28-718E-4974-B93F-601DFC94A538}" dt="2025-06-13T11:14:20.753" v="762"/>
          <ac:spMkLst>
            <pc:docMk/>
            <pc:sldMk cId="3710522729" sldId="1533"/>
            <ac:spMk id="7" creationId="{7C78599F-670E-9D9A-ED63-8107255D2E3F}"/>
          </ac:spMkLst>
        </pc:spChg>
        <pc:spChg chg="mod">
          <ac:chgData name="Krishna  Patel" userId="ed2200d0-4eed-40c6-ab36-78bc62005773" providerId="ADAL" clId="{7B184F28-718E-4974-B93F-601DFC94A538}" dt="2025-06-13T11:20:43.382" v="821" actId="14"/>
          <ac:spMkLst>
            <pc:docMk/>
            <pc:sldMk cId="3710522729" sldId="1533"/>
            <ac:spMk id="8" creationId="{B6E92D07-FD49-7B9F-1D15-3F3796B03D37}"/>
          </ac:spMkLst>
        </pc:spChg>
        <pc:spChg chg="add mod">
          <ac:chgData name="Krishna  Patel" userId="ed2200d0-4eed-40c6-ab36-78bc62005773" providerId="ADAL" clId="{7B184F28-718E-4974-B93F-601DFC94A538}" dt="2025-06-13T11:19:35.014" v="802"/>
          <ac:spMkLst>
            <pc:docMk/>
            <pc:sldMk cId="3710522729" sldId="1533"/>
            <ac:spMk id="12" creationId="{3581F495-AF22-4558-19FB-8ED8359C6A95}"/>
          </ac:spMkLst>
        </pc:spChg>
        <pc:spChg chg="add mod">
          <ac:chgData name="Krishna  Patel" userId="ed2200d0-4eed-40c6-ab36-78bc62005773" providerId="ADAL" clId="{7B184F28-718E-4974-B93F-601DFC94A538}" dt="2025-06-13T11:19:35.014" v="802"/>
          <ac:spMkLst>
            <pc:docMk/>
            <pc:sldMk cId="3710522729" sldId="1533"/>
            <ac:spMk id="13" creationId="{B786D88F-6C18-B4BE-EE4E-3DC70E6C653A}"/>
          </ac:spMkLst>
        </pc:spChg>
        <pc:spChg chg="add mod">
          <ac:chgData name="Krishna  Patel" userId="ed2200d0-4eed-40c6-ab36-78bc62005773" providerId="ADAL" clId="{7B184F28-718E-4974-B93F-601DFC94A538}" dt="2025-06-13T11:19:35.014" v="802"/>
          <ac:spMkLst>
            <pc:docMk/>
            <pc:sldMk cId="3710522729" sldId="1533"/>
            <ac:spMk id="14" creationId="{4B1E19A8-BA11-2829-8DB3-B6A2E76F7613}"/>
          </ac:spMkLst>
        </pc:spChg>
      </pc:sldChg>
      <pc:sldChg chg="addSp delSp modSp new mod">
        <pc:chgData name="Krishna  Patel" userId="ed2200d0-4eed-40c6-ab36-78bc62005773" providerId="ADAL" clId="{7B184F28-718E-4974-B93F-601DFC94A538}" dt="2025-06-13T11:39:01.391" v="889" actId="14100"/>
        <pc:sldMkLst>
          <pc:docMk/>
          <pc:sldMk cId="2430113203" sldId="1534"/>
        </pc:sldMkLst>
        <pc:spChg chg="mod">
          <ac:chgData name="Krishna  Patel" userId="ed2200d0-4eed-40c6-ab36-78bc62005773" providerId="ADAL" clId="{7B184F28-718E-4974-B93F-601DFC94A538}" dt="2025-06-13T11:28:16.252" v="823"/>
          <ac:spMkLst>
            <pc:docMk/>
            <pc:sldMk cId="2430113203" sldId="1534"/>
            <ac:spMk id="2" creationId="{EA7D1AED-612E-023B-2BC2-DE85FB8BC677}"/>
          </ac:spMkLst>
        </pc:spChg>
        <pc:spChg chg="mod">
          <ac:chgData name="Krishna  Patel" userId="ed2200d0-4eed-40c6-ab36-78bc62005773" providerId="ADAL" clId="{7B184F28-718E-4974-B93F-601DFC94A538}" dt="2025-06-13T11:37:31.561" v="877" actId="14100"/>
          <ac:spMkLst>
            <pc:docMk/>
            <pc:sldMk cId="2430113203" sldId="1534"/>
            <ac:spMk id="3" creationId="{AD06EDC1-4F17-C5C0-54E7-9A54E9F1918C}"/>
          </ac:spMkLst>
        </pc:spChg>
        <pc:spChg chg="mod">
          <ac:chgData name="Krishna  Patel" userId="ed2200d0-4eed-40c6-ab36-78bc62005773" providerId="ADAL" clId="{7B184F28-718E-4974-B93F-601DFC94A538}" dt="2025-06-13T11:39:01.391" v="889" actId="14100"/>
          <ac:spMkLst>
            <pc:docMk/>
            <pc:sldMk cId="2430113203" sldId="1534"/>
            <ac:spMk id="7" creationId="{B0AA0CB2-3D40-B54D-DE53-ED6A996D443D}"/>
          </ac:spMkLst>
        </pc:spChg>
        <pc:spChg chg="add mod">
          <ac:chgData name="Krishna  Patel" userId="ed2200d0-4eed-40c6-ab36-78bc62005773" providerId="ADAL" clId="{7B184F28-718E-4974-B93F-601DFC94A538}" dt="2025-06-13T11:38:48.447" v="888"/>
          <ac:spMkLst>
            <pc:docMk/>
            <pc:sldMk cId="2430113203" sldId="1534"/>
            <ac:spMk id="9" creationId="{38EA070E-F7EB-7B9F-2A99-2958F5F9D4FB}"/>
          </ac:spMkLst>
        </pc:spChg>
        <pc:spChg chg="add mod">
          <ac:chgData name="Krishna  Patel" userId="ed2200d0-4eed-40c6-ab36-78bc62005773" providerId="ADAL" clId="{7B184F28-718E-4974-B93F-601DFC94A538}" dt="2025-06-13T11:38:48.447" v="888"/>
          <ac:spMkLst>
            <pc:docMk/>
            <pc:sldMk cId="2430113203" sldId="1534"/>
            <ac:spMk id="10" creationId="{4FB93E2F-A792-BBE8-659B-8AC3955D0F59}"/>
          </ac:spMkLst>
        </pc:spChg>
        <pc:spChg chg="add mod">
          <ac:chgData name="Krishna  Patel" userId="ed2200d0-4eed-40c6-ab36-78bc62005773" providerId="ADAL" clId="{7B184F28-718E-4974-B93F-601DFC94A538}" dt="2025-06-13T11:38:48.447" v="888"/>
          <ac:spMkLst>
            <pc:docMk/>
            <pc:sldMk cId="2430113203" sldId="1534"/>
            <ac:spMk id="11" creationId="{64F3FBC3-7CB9-764C-54B2-9D3F73C923B6}"/>
          </ac:spMkLst>
        </pc:spChg>
      </pc:sldChg>
      <pc:sldChg chg="modSp add mod ord">
        <pc:chgData name="Krishna  Patel" userId="ed2200d0-4eed-40c6-ab36-78bc62005773" providerId="ADAL" clId="{7B184F28-718E-4974-B93F-601DFC94A538}" dt="2025-06-13T11:45:32.454" v="963" actId="14100"/>
        <pc:sldMkLst>
          <pc:docMk/>
          <pc:sldMk cId="1146646944" sldId="1535"/>
        </pc:sldMkLst>
        <pc:spChg chg="mod">
          <ac:chgData name="Krishna  Patel" userId="ed2200d0-4eed-40c6-ab36-78bc62005773" providerId="ADAL" clId="{7B184F28-718E-4974-B93F-601DFC94A538}" dt="2025-06-13T11:43:05.549" v="936" actId="207"/>
          <ac:spMkLst>
            <pc:docMk/>
            <pc:sldMk cId="1146646944" sldId="1535"/>
            <ac:spMk id="3" creationId="{0F168ADC-2797-1FB5-3849-29310788994B}"/>
          </ac:spMkLst>
        </pc:spChg>
        <pc:spChg chg="mod">
          <ac:chgData name="Krishna  Patel" userId="ed2200d0-4eed-40c6-ab36-78bc62005773" providerId="ADAL" clId="{7B184F28-718E-4974-B93F-601DFC94A538}" dt="2025-06-13T11:45:32.454" v="963" actId="14100"/>
          <ac:spMkLst>
            <pc:docMk/>
            <pc:sldMk cId="1146646944" sldId="1535"/>
            <ac:spMk id="7" creationId="{368B4E2D-4EDD-78AB-DB67-2D8AA2B7F476}"/>
          </ac:spMkLst>
        </pc:spChg>
      </pc:sldChg>
      <pc:sldChg chg="addSp delSp modSp add mod modClrScheme chgLayout">
        <pc:chgData name="Krishna  Patel" userId="ed2200d0-4eed-40c6-ab36-78bc62005773" providerId="ADAL" clId="{7B184F28-718E-4974-B93F-601DFC94A538}" dt="2025-06-13T11:50:53.734" v="1038" actId="1036"/>
        <pc:sldMkLst>
          <pc:docMk/>
          <pc:sldMk cId="3814979771" sldId="1536"/>
        </pc:sldMkLst>
        <pc:spChg chg="mod ord">
          <ac:chgData name="Krishna  Patel" userId="ed2200d0-4eed-40c6-ab36-78bc62005773" providerId="ADAL" clId="{7B184F28-718E-4974-B93F-601DFC94A538}" dt="2025-06-13T11:46:21.838" v="966" actId="700"/>
          <ac:spMkLst>
            <pc:docMk/>
            <pc:sldMk cId="3814979771" sldId="1536"/>
            <ac:spMk id="2" creationId="{397DBF49-DC84-B52E-8B2D-EDC6E1EEC1E8}"/>
          </ac:spMkLst>
        </pc:spChg>
        <pc:spChg chg="add mod ord">
          <ac:chgData name="Krishna  Patel" userId="ed2200d0-4eed-40c6-ab36-78bc62005773" providerId="ADAL" clId="{7B184F28-718E-4974-B93F-601DFC94A538}" dt="2025-06-13T11:47:13.010" v="975" actId="2710"/>
          <ac:spMkLst>
            <pc:docMk/>
            <pc:sldMk cId="3814979771" sldId="1536"/>
            <ac:spMk id="3" creationId="{76FFA21F-99C3-086E-CC87-56C9BA080CD9}"/>
          </ac:spMkLst>
        </pc:spChg>
        <pc:spChg chg="add mod ord">
          <ac:chgData name="Krishna  Patel" userId="ed2200d0-4eed-40c6-ab36-78bc62005773" providerId="ADAL" clId="{7B184F28-718E-4974-B93F-601DFC94A538}" dt="2025-06-13T11:50:36.360" v="1025" actId="15"/>
          <ac:spMkLst>
            <pc:docMk/>
            <pc:sldMk cId="3814979771" sldId="1536"/>
            <ac:spMk id="5" creationId="{5C60A91E-616E-4368-9DFE-5758186FB9BF}"/>
          </ac:spMkLst>
        </pc:spChg>
        <pc:spChg chg="add mod">
          <ac:chgData name="Krishna  Patel" userId="ed2200d0-4eed-40c6-ab36-78bc62005773" providerId="ADAL" clId="{7B184F28-718E-4974-B93F-601DFC94A538}" dt="2025-06-13T11:50:53.734" v="1038" actId="1036"/>
          <ac:spMkLst>
            <pc:docMk/>
            <pc:sldMk cId="3814979771" sldId="1536"/>
            <ac:spMk id="6" creationId="{E0D7EF76-FD00-E1DD-2229-1C5F7DCDB488}"/>
          </ac:spMkLst>
        </pc:spChg>
        <pc:spChg chg="mod ord">
          <ac:chgData name="Krishna  Patel" userId="ed2200d0-4eed-40c6-ab36-78bc62005773" providerId="ADAL" clId="{7B184F28-718E-4974-B93F-601DFC94A538}" dt="2025-06-13T11:46:21.838" v="966" actId="700"/>
          <ac:spMkLst>
            <pc:docMk/>
            <pc:sldMk cId="3814979771" sldId="1536"/>
            <ac:spMk id="45" creationId="{368339EB-06C8-B8B5-C19E-2B14FDF7D2B5}"/>
          </ac:spMkLst>
        </pc:spChg>
        <pc:spChg chg="mod ord">
          <ac:chgData name="Krishna  Patel" userId="ed2200d0-4eed-40c6-ab36-78bc62005773" providerId="ADAL" clId="{7B184F28-718E-4974-B93F-601DFC94A538}" dt="2025-06-13T11:46:21.838" v="966" actId="700"/>
          <ac:spMkLst>
            <pc:docMk/>
            <pc:sldMk cId="3814979771" sldId="1536"/>
            <ac:spMk id="46" creationId="{F6B43726-C579-86F2-F358-F702312C46FF}"/>
          </ac:spMkLst>
        </pc:spChg>
        <pc:picChg chg="add mod">
          <ac:chgData name="Krishna  Patel" userId="ed2200d0-4eed-40c6-ab36-78bc62005773" providerId="ADAL" clId="{7B184F28-718E-4974-B93F-601DFC94A538}" dt="2025-06-13T11:50:53.734" v="1038" actId="1036"/>
          <ac:picMkLst>
            <pc:docMk/>
            <pc:sldMk cId="3814979771" sldId="1536"/>
            <ac:picMk id="8" creationId="{61245E29-E4C1-2D90-4700-9C7195AA7111}"/>
          </ac:picMkLst>
        </pc:picChg>
      </pc:sldChg>
      <pc:sldChg chg="modSp add mod">
        <pc:chgData name="Krishna  Patel" userId="ed2200d0-4eed-40c6-ab36-78bc62005773" providerId="ADAL" clId="{7B184F28-718E-4974-B93F-601DFC94A538}" dt="2025-06-13T12:19:33.009" v="1255" actId="207"/>
        <pc:sldMkLst>
          <pc:docMk/>
          <pc:sldMk cId="3640246564" sldId="1537"/>
        </pc:sldMkLst>
        <pc:spChg chg="mod">
          <ac:chgData name="Krishna  Patel" userId="ed2200d0-4eed-40c6-ab36-78bc62005773" providerId="ADAL" clId="{7B184F28-718E-4974-B93F-601DFC94A538}" dt="2025-06-13T11:51:27.184" v="1043" actId="20577"/>
          <ac:spMkLst>
            <pc:docMk/>
            <pc:sldMk cId="3640246564" sldId="1537"/>
            <ac:spMk id="2" creationId="{615A445A-CFBB-FE1D-373D-7CC69C1D1085}"/>
          </ac:spMkLst>
        </pc:spChg>
        <pc:spChg chg="mod">
          <ac:chgData name="Krishna  Patel" userId="ed2200d0-4eed-40c6-ab36-78bc62005773" providerId="ADAL" clId="{7B184F28-718E-4974-B93F-601DFC94A538}" dt="2025-06-13T12:11:22.428" v="1204" actId="5793"/>
          <ac:spMkLst>
            <pc:docMk/>
            <pc:sldMk cId="3640246564" sldId="1537"/>
            <ac:spMk id="3" creationId="{7402E845-718B-B003-59CC-220525592D6E}"/>
          </ac:spMkLst>
        </pc:spChg>
        <pc:spChg chg="mod">
          <ac:chgData name="Krishna  Patel" userId="ed2200d0-4eed-40c6-ab36-78bc62005773" providerId="ADAL" clId="{7B184F28-718E-4974-B93F-601DFC94A538}" dt="2025-06-13T12:19:33.009" v="1255" actId="207"/>
          <ac:spMkLst>
            <pc:docMk/>
            <pc:sldMk cId="3640246564" sldId="1537"/>
            <ac:spMk id="7" creationId="{7F1B10AC-D13A-840E-0A1D-08994E35C671}"/>
          </ac:spMkLst>
        </pc:spChg>
        <pc:spChg chg="mod">
          <ac:chgData name="Krishna  Patel" userId="ed2200d0-4eed-40c6-ab36-78bc62005773" providerId="ADAL" clId="{7B184F28-718E-4974-B93F-601DFC94A538}" dt="2025-06-13T11:51:41.234" v="1044"/>
          <ac:spMkLst>
            <pc:docMk/>
            <pc:sldMk cId="3640246564" sldId="1537"/>
            <ac:spMk id="8" creationId="{7B07BAF1-99E6-B8E6-948F-DC17284F27C1}"/>
          </ac:spMkLst>
        </pc:spChg>
      </pc:sldChg>
      <pc:sldChg chg="modSp add mod">
        <pc:chgData name="Krishna  Patel" userId="ed2200d0-4eed-40c6-ab36-78bc62005773" providerId="ADAL" clId="{7B184F28-718E-4974-B93F-601DFC94A538}" dt="2025-06-13T12:10:53.282" v="1200" actId="14100"/>
        <pc:sldMkLst>
          <pc:docMk/>
          <pc:sldMk cId="3956876099" sldId="1538"/>
        </pc:sldMkLst>
        <pc:spChg chg="mod">
          <ac:chgData name="Krishna  Patel" userId="ed2200d0-4eed-40c6-ab36-78bc62005773" providerId="ADAL" clId="{7B184F28-718E-4974-B93F-601DFC94A538}" dt="2025-06-13T12:04:21.544" v="1120" actId="20577"/>
          <ac:spMkLst>
            <pc:docMk/>
            <pc:sldMk cId="3956876099" sldId="1538"/>
            <ac:spMk id="2" creationId="{8D18E555-32CF-9F0E-7E45-04A5291DE61C}"/>
          </ac:spMkLst>
        </pc:spChg>
        <pc:spChg chg="mod">
          <ac:chgData name="Krishna  Patel" userId="ed2200d0-4eed-40c6-ab36-78bc62005773" providerId="ADAL" clId="{7B184F28-718E-4974-B93F-601DFC94A538}" dt="2025-06-13T12:10:47.294" v="1198" actId="14100"/>
          <ac:spMkLst>
            <pc:docMk/>
            <pc:sldMk cId="3956876099" sldId="1538"/>
            <ac:spMk id="3" creationId="{CB090951-86C8-3505-FE1A-5199224519DC}"/>
          </ac:spMkLst>
        </pc:spChg>
        <pc:spChg chg="mod">
          <ac:chgData name="Krishna  Patel" userId="ed2200d0-4eed-40c6-ab36-78bc62005773" providerId="ADAL" clId="{7B184F28-718E-4974-B93F-601DFC94A538}" dt="2025-06-13T12:10:53.282" v="1200" actId="14100"/>
          <ac:spMkLst>
            <pc:docMk/>
            <pc:sldMk cId="3956876099" sldId="1538"/>
            <ac:spMk id="7" creationId="{41599267-910C-8FD6-44B3-861E98D3AAC0}"/>
          </ac:spMkLst>
        </pc:spChg>
      </pc:sldChg>
      <pc:sldChg chg="addSp delSp modSp add mod">
        <pc:chgData name="Krishna  Patel" userId="ed2200d0-4eed-40c6-ab36-78bc62005773" providerId="ADAL" clId="{7B184F28-718E-4974-B93F-601DFC94A538}" dt="2025-06-13T12:16:11.590" v="1253" actId="2710"/>
        <pc:sldMkLst>
          <pc:docMk/>
          <pc:sldMk cId="255147479" sldId="1539"/>
        </pc:sldMkLst>
        <pc:spChg chg="mod">
          <ac:chgData name="Krishna  Patel" userId="ed2200d0-4eed-40c6-ab36-78bc62005773" providerId="ADAL" clId="{7B184F28-718E-4974-B93F-601DFC94A538}" dt="2025-06-13T12:12:28.222" v="1207" actId="20577"/>
          <ac:spMkLst>
            <pc:docMk/>
            <pc:sldMk cId="255147479" sldId="1539"/>
            <ac:spMk id="2" creationId="{AB32D2B5-EE2D-C646-6615-6C2AC2EE167F}"/>
          </ac:spMkLst>
        </pc:spChg>
        <pc:spChg chg="mod">
          <ac:chgData name="Krishna  Patel" userId="ed2200d0-4eed-40c6-ab36-78bc62005773" providerId="ADAL" clId="{7B184F28-718E-4974-B93F-601DFC94A538}" dt="2025-06-13T12:13:01.199" v="1212" actId="20577"/>
          <ac:spMkLst>
            <pc:docMk/>
            <pc:sldMk cId="255147479" sldId="1539"/>
            <ac:spMk id="3" creationId="{FA9E4877-EA64-CBFB-C572-AE6D69AB7F1E}"/>
          </ac:spMkLst>
        </pc:spChg>
        <pc:spChg chg="add mod">
          <ac:chgData name="Krishna  Patel" userId="ed2200d0-4eed-40c6-ab36-78bc62005773" providerId="ADAL" clId="{7B184F28-718E-4974-B93F-601DFC94A538}" dt="2025-06-13T12:13:16.339" v="1214"/>
          <ac:spMkLst>
            <pc:docMk/>
            <pc:sldMk cId="255147479" sldId="1539"/>
            <ac:spMk id="4" creationId="{E591D09C-007B-CB1C-1BAC-1774F92E7863}"/>
          </ac:spMkLst>
        </pc:spChg>
        <pc:spChg chg="mod">
          <ac:chgData name="Krishna  Patel" userId="ed2200d0-4eed-40c6-ab36-78bc62005773" providerId="ADAL" clId="{7B184F28-718E-4974-B93F-601DFC94A538}" dt="2025-06-13T12:16:11.590" v="1253" actId="2710"/>
          <ac:spMkLst>
            <pc:docMk/>
            <pc:sldMk cId="255147479" sldId="1539"/>
            <ac:spMk id="5" creationId="{16214CD8-E8CA-F3D5-B1C0-D9EDDF60B58C}"/>
          </ac:spMkLst>
        </pc:spChg>
        <pc:spChg chg="add mod">
          <ac:chgData name="Krishna  Patel" userId="ed2200d0-4eed-40c6-ab36-78bc62005773" providerId="ADAL" clId="{7B184F28-718E-4974-B93F-601DFC94A538}" dt="2025-06-13T12:13:16.339" v="1214"/>
          <ac:spMkLst>
            <pc:docMk/>
            <pc:sldMk cId="255147479" sldId="1539"/>
            <ac:spMk id="7" creationId="{DA40A968-7BC4-4B83-6FA7-04CB63613433}"/>
          </ac:spMkLst>
        </pc:spChg>
        <pc:picChg chg="add mod">
          <ac:chgData name="Krishna  Patel" userId="ed2200d0-4eed-40c6-ab36-78bc62005773" providerId="ADAL" clId="{7B184F28-718E-4974-B93F-601DFC94A538}" dt="2025-06-13T12:13:22.984" v="1215"/>
          <ac:picMkLst>
            <pc:docMk/>
            <pc:sldMk cId="255147479" sldId="1539"/>
            <ac:picMk id="9" creationId="{6A673F6F-0230-871F-74B9-65075F368E14}"/>
          </ac:picMkLst>
        </pc:picChg>
      </pc:sldChg>
      <pc:sldChg chg="modSp add mod">
        <pc:chgData name="Krishna  Patel" userId="ed2200d0-4eed-40c6-ab36-78bc62005773" providerId="ADAL" clId="{7B184F28-718E-4974-B93F-601DFC94A538}" dt="2025-06-13T12:27:36.088" v="1322" actId="14100"/>
        <pc:sldMkLst>
          <pc:docMk/>
          <pc:sldMk cId="394788488" sldId="1540"/>
        </pc:sldMkLst>
        <pc:spChg chg="mod">
          <ac:chgData name="Krishna  Patel" userId="ed2200d0-4eed-40c6-ab36-78bc62005773" providerId="ADAL" clId="{7B184F28-718E-4974-B93F-601DFC94A538}" dt="2025-06-13T12:27:36.088" v="1322" actId="14100"/>
          <ac:spMkLst>
            <pc:docMk/>
            <pc:sldMk cId="394788488" sldId="1540"/>
            <ac:spMk id="3" creationId="{858DF3DD-5AF8-B5B2-6E0F-156E55F12445}"/>
          </ac:spMkLst>
        </pc:spChg>
        <pc:spChg chg="mod">
          <ac:chgData name="Krishna  Patel" userId="ed2200d0-4eed-40c6-ab36-78bc62005773" providerId="ADAL" clId="{7B184F28-718E-4974-B93F-601DFC94A538}" dt="2025-06-13T12:27:30.488" v="1321" actId="1036"/>
          <ac:spMkLst>
            <pc:docMk/>
            <pc:sldMk cId="394788488" sldId="1540"/>
            <ac:spMk id="7" creationId="{694B11BB-2E04-6262-F7C3-7F2C82A06797}"/>
          </ac:spMkLst>
        </pc:spChg>
        <pc:spChg chg="mod">
          <ac:chgData name="Krishna  Patel" userId="ed2200d0-4eed-40c6-ab36-78bc62005773" providerId="ADAL" clId="{7B184F28-718E-4974-B93F-601DFC94A538}" dt="2025-06-13T12:21:11.524" v="1259"/>
          <ac:spMkLst>
            <pc:docMk/>
            <pc:sldMk cId="394788488" sldId="1540"/>
            <ac:spMk id="8" creationId="{27DDFAD9-17B6-D044-AD58-A7B7F971DBEE}"/>
          </ac:spMkLst>
        </pc:spChg>
      </pc:sldChg>
      <pc:sldChg chg="modSp add mod">
        <pc:chgData name="Krishna  Patel" userId="ed2200d0-4eed-40c6-ab36-78bc62005773" providerId="ADAL" clId="{7B184F28-718E-4974-B93F-601DFC94A538}" dt="2025-06-13T12:35:16.668" v="1416" actId="14100"/>
        <pc:sldMkLst>
          <pc:docMk/>
          <pc:sldMk cId="3029737752" sldId="1541"/>
        </pc:sldMkLst>
        <pc:spChg chg="mod">
          <ac:chgData name="Krishna  Patel" userId="ed2200d0-4eed-40c6-ab36-78bc62005773" providerId="ADAL" clId="{7B184F28-718E-4974-B93F-601DFC94A538}" dt="2025-06-13T12:30:06.123" v="1327"/>
          <ac:spMkLst>
            <pc:docMk/>
            <pc:sldMk cId="3029737752" sldId="1541"/>
            <ac:spMk id="2" creationId="{5E1C2FC9-13E4-79DC-D1A8-EE8BFB18B2B9}"/>
          </ac:spMkLst>
        </pc:spChg>
        <pc:spChg chg="mod">
          <ac:chgData name="Krishna  Patel" userId="ed2200d0-4eed-40c6-ab36-78bc62005773" providerId="ADAL" clId="{7B184F28-718E-4974-B93F-601DFC94A538}" dt="2025-06-13T12:35:12.263" v="1415" actId="2711"/>
          <ac:spMkLst>
            <pc:docMk/>
            <pc:sldMk cId="3029737752" sldId="1541"/>
            <ac:spMk id="3" creationId="{AF85F613-697C-ADF1-71A9-7D4A5FD311E0}"/>
          </ac:spMkLst>
        </pc:spChg>
        <pc:spChg chg="mod">
          <ac:chgData name="Krishna  Patel" userId="ed2200d0-4eed-40c6-ab36-78bc62005773" providerId="ADAL" clId="{7B184F28-718E-4974-B93F-601DFC94A538}" dt="2025-06-13T12:35:16.668" v="1416" actId="14100"/>
          <ac:spMkLst>
            <pc:docMk/>
            <pc:sldMk cId="3029737752" sldId="1541"/>
            <ac:spMk id="7" creationId="{B347244D-7D96-A870-DB61-1E5E9EF6E3AB}"/>
          </ac:spMkLst>
        </pc:spChg>
      </pc:sldChg>
      <pc:sldChg chg="addSp delSp modSp add mod modClrScheme chgLayout">
        <pc:chgData name="Krishna  Patel" userId="ed2200d0-4eed-40c6-ab36-78bc62005773" providerId="ADAL" clId="{7B184F28-718E-4974-B93F-601DFC94A538}" dt="2025-06-13T12:41:19.067" v="1463" actId="1076"/>
        <pc:sldMkLst>
          <pc:docMk/>
          <pc:sldMk cId="1744534717" sldId="1542"/>
        </pc:sldMkLst>
        <pc:spChg chg="mod ord">
          <ac:chgData name="Krishna  Patel" userId="ed2200d0-4eed-40c6-ab36-78bc62005773" providerId="ADAL" clId="{7B184F28-718E-4974-B93F-601DFC94A538}" dt="2025-06-13T12:38:27.788" v="1421" actId="700"/>
          <ac:spMkLst>
            <pc:docMk/>
            <pc:sldMk cId="1744534717" sldId="1542"/>
            <ac:spMk id="2" creationId="{E706B3EF-0FE2-171D-F145-D0D26AABF18B}"/>
          </ac:spMkLst>
        </pc:spChg>
        <pc:spChg chg="add mod ord">
          <ac:chgData name="Krishna  Patel" userId="ed2200d0-4eed-40c6-ab36-78bc62005773" providerId="ADAL" clId="{7B184F28-718E-4974-B93F-601DFC94A538}" dt="2025-06-13T12:39:06.198" v="1428" actId="15"/>
          <ac:spMkLst>
            <pc:docMk/>
            <pc:sldMk cId="1744534717" sldId="1542"/>
            <ac:spMk id="3" creationId="{EDB83579-2733-5D46-E8A5-D27B8B1544E3}"/>
          </ac:spMkLst>
        </pc:spChg>
        <pc:spChg chg="add mod ord">
          <ac:chgData name="Krishna  Patel" userId="ed2200d0-4eed-40c6-ab36-78bc62005773" providerId="ADAL" clId="{7B184F28-718E-4974-B93F-601DFC94A538}" dt="2025-06-13T12:41:05.492" v="1460" actId="15"/>
          <ac:spMkLst>
            <pc:docMk/>
            <pc:sldMk cId="1744534717" sldId="1542"/>
            <ac:spMk id="5" creationId="{76CCEBB1-F992-7C38-009E-153B6AB698BF}"/>
          </ac:spMkLst>
        </pc:spChg>
        <pc:spChg chg="mod ord">
          <ac:chgData name="Krishna  Patel" userId="ed2200d0-4eed-40c6-ab36-78bc62005773" providerId="ADAL" clId="{7B184F28-718E-4974-B93F-601DFC94A538}" dt="2025-06-13T12:38:27.788" v="1421" actId="700"/>
          <ac:spMkLst>
            <pc:docMk/>
            <pc:sldMk cId="1744534717" sldId="1542"/>
            <ac:spMk id="44" creationId="{B4E31499-E0B1-B3F8-080F-35F3E20E1006}"/>
          </ac:spMkLst>
        </pc:spChg>
        <pc:spChg chg="mod ord">
          <ac:chgData name="Krishna  Patel" userId="ed2200d0-4eed-40c6-ab36-78bc62005773" providerId="ADAL" clId="{7B184F28-718E-4974-B93F-601DFC94A538}" dt="2025-06-13T12:38:27.788" v="1421" actId="700"/>
          <ac:spMkLst>
            <pc:docMk/>
            <pc:sldMk cId="1744534717" sldId="1542"/>
            <ac:spMk id="51" creationId="{F3D3DAD4-2D2A-A766-E34C-D37521E3D7D0}"/>
          </ac:spMkLst>
        </pc:spChg>
        <pc:picChg chg="add mod">
          <ac:chgData name="Krishna  Patel" userId="ed2200d0-4eed-40c6-ab36-78bc62005773" providerId="ADAL" clId="{7B184F28-718E-4974-B93F-601DFC94A538}" dt="2025-06-13T12:41:19.067" v="1463" actId="1076"/>
          <ac:picMkLst>
            <pc:docMk/>
            <pc:sldMk cId="1744534717" sldId="1542"/>
            <ac:picMk id="19" creationId="{E7A62481-C574-922E-B561-B6E5A9073F3D}"/>
          </ac:picMkLst>
        </pc:picChg>
      </pc:sldChg>
      <pc:sldChg chg="add del">
        <pc:chgData name="Krishna  Patel" userId="ed2200d0-4eed-40c6-ab36-78bc62005773" providerId="ADAL" clId="{7B184F28-718E-4974-B93F-601DFC94A538}" dt="2025-06-13T12:37:42.645" v="1419"/>
        <pc:sldMkLst>
          <pc:docMk/>
          <pc:sldMk cId="4102287670" sldId="1542"/>
        </pc:sldMkLst>
      </pc:sldChg>
      <pc:sldChg chg="addSp delSp modSp add mod">
        <pc:chgData name="Krishna  Patel" userId="ed2200d0-4eed-40c6-ab36-78bc62005773" providerId="ADAL" clId="{7B184F28-718E-4974-B93F-601DFC94A538}" dt="2025-06-13T12:48:40.369" v="1559" actId="15"/>
        <pc:sldMkLst>
          <pc:docMk/>
          <pc:sldMk cId="471338121" sldId="1543"/>
        </pc:sldMkLst>
        <pc:spChg chg="mod">
          <ac:chgData name="Krishna  Patel" userId="ed2200d0-4eed-40c6-ab36-78bc62005773" providerId="ADAL" clId="{7B184F28-718E-4974-B93F-601DFC94A538}" dt="2025-06-13T12:42:06.112" v="1467"/>
          <ac:spMkLst>
            <pc:docMk/>
            <pc:sldMk cId="471338121" sldId="1543"/>
            <ac:spMk id="2" creationId="{BEA18BF2-79D8-1822-0DB2-EC62E21C49F1}"/>
          </ac:spMkLst>
        </pc:spChg>
        <pc:spChg chg="mod">
          <ac:chgData name="Krishna  Patel" userId="ed2200d0-4eed-40c6-ab36-78bc62005773" providerId="ADAL" clId="{7B184F28-718E-4974-B93F-601DFC94A538}" dt="2025-06-13T12:48:37.537" v="1557" actId="15"/>
          <ac:spMkLst>
            <pc:docMk/>
            <pc:sldMk cId="471338121" sldId="1543"/>
            <ac:spMk id="3" creationId="{E8E93709-67D9-B7E1-8BF9-9C1F16AC4A3D}"/>
          </ac:spMkLst>
        </pc:spChg>
        <pc:spChg chg="mod">
          <ac:chgData name="Krishna  Patel" userId="ed2200d0-4eed-40c6-ab36-78bc62005773" providerId="ADAL" clId="{7B184F28-718E-4974-B93F-601DFC94A538}" dt="2025-06-13T12:48:40.369" v="1559" actId="15"/>
          <ac:spMkLst>
            <pc:docMk/>
            <pc:sldMk cId="471338121" sldId="1543"/>
            <ac:spMk id="7" creationId="{D44D3F4F-D91C-CD73-5D4C-F10DB8A740B7}"/>
          </ac:spMkLst>
        </pc:spChg>
        <pc:spChg chg="mod">
          <ac:chgData name="Krishna  Patel" userId="ed2200d0-4eed-40c6-ab36-78bc62005773" providerId="ADAL" clId="{7B184F28-718E-4974-B93F-601DFC94A538}" dt="2025-06-13T12:41:53.660" v="1466"/>
          <ac:spMkLst>
            <pc:docMk/>
            <pc:sldMk cId="471338121" sldId="1543"/>
            <ac:spMk id="8" creationId="{8E605B07-3836-B5F6-5DF3-421686F95DD0}"/>
          </ac:spMkLst>
        </pc:spChg>
      </pc:sldChg>
      <pc:sldChg chg="addSp delSp modSp add mod chgLayout">
        <pc:chgData name="Krishna  Patel" userId="ed2200d0-4eed-40c6-ab36-78bc62005773" providerId="ADAL" clId="{7B184F28-718E-4974-B93F-601DFC94A538}" dt="2025-06-13T13:08:16.421" v="1803" actId="14100"/>
        <pc:sldMkLst>
          <pc:docMk/>
          <pc:sldMk cId="131038411" sldId="1544"/>
        </pc:sldMkLst>
        <pc:spChg chg="mod ord">
          <ac:chgData name="Krishna  Patel" userId="ed2200d0-4eed-40c6-ab36-78bc62005773" providerId="ADAL" clId="{7B184F28-718E-4974-B93F-601DFC94A538}" dt="2025-06-13T13:04:32.455" v="1754" actId="700"/>
          <ac:spMkLst>
            <pc:docMk/>
            <pc:sldMk cId="131038411" sldId="1544"/>
            <ac:spMk id="2" creationId="{5DA60617-DC94-4245-7D50-6E8337539167}"/>
          </ac:spMkLst>
        </pc:spChg>
        <pc:spChg chg="add mod">
          <ac:chgData name="Krishna  Patel" userId="ed2200d0-4eed-40c6-ab36-78bc62005773" providerId="ADAL" clId="{7B184F28-718E-4974-B93F-601DFC94A538}" dt="2025-06-13T13:04:41.944" v="1756" actId="14100"/>
          <ac:spMkLst>
            <pc:docMk/>
            <pc:sldMk cId="131038411" sldId="1544"/>
            <ac:spMk id="3" creationId="{DC4F81B6-226F-7951-B97D-8F63877F9791}"/>
          </ac:spMkLst>
        </pc:spChg>
        <pc:spChg chg="mod">
          <ac:chgData name="Krishna  Patel" userId="ed2200d0-4eed-40c6-ab36-78bc62005773" providerId="ADAL" clId="{7B184F28-718E-4974-B93F-601DFC94A538}" dt="2025-06-13T13:05:32.168" v="1764" actId="554"/>
          <ac:spMkLst>
            <pc:docMk/>
            <pc:sldMk cId="131038411" sldId="1544"/>
            <ac:spMk id="4" creationId="{AAFB62F2-E214-E36B-D2A9-1C8D22A70598}"/>
          </ac:spMkLst>
        </pc:spChg>
        <pc:spChg chg="mod">
          <ac:chgData name="Krishna  Patel" userId="ed2200d0-4eed-40c6-ab36-78bc62005773" providerId="ADAL" clId="{7B184F28-718E-4974-B93F-601DFC94A538}" dt="2025-06-13T13:06:14.016" v="1775" actId="1035"/>
          <ac:spMkLst>
            <pc:docMk/>
            <pc:sldMk cId="131038411" sldId="1544"/>
            <ac:spMk id="5" creationId="{36EA3C19-51F3-E0FA-4EE5-820E728659DC}"/>
          </ac:spMkLst>
        </pc:spChg>
        <pc:spChg chg="mod">
          <ac:chgData name="Krishna  Patel" userId="ed2200d0-4eed-40c6-ab36-78bc62005773" providerId="ADAL" clId="{7B184F28-718E-4974-B93F-601DFC94A538}" dt="2025-06-13T13:06:27.289" v="1779" actId="14100"/>
          <ac:spMkLst>
            <pc:docMk/>
            <pc:sldMk cId="131038411" sldId="1544"/>
            <ac:spMk id="7" creationId="{0B4C11F3-A021-16E9-91BB-16FC1CD67D35}"/>
          </ac:spMkLst>
        </pc:spChg>
        <pc:spChg chg="add mod">
          <ac:chgData name="Krishna  Patel" userId="ed2200d0-4eed-40c6-ab36-78bc62005773" providerId="ADAL" clId="{7B184F28-718E-4974-B93F-601DFC94A538}" dt="2025-06-13T13:08:01.121" v="1800" actId="554"/>
          <ac:spMkLst>
            <pc:docMk/>
            <pc:sldMk cId="131038411" sldId="1544"/>
            <ac:spMk id="9" creationId="{2531099A-216D-A3A7-B746-F840E23FECA7}"/>
          </ac:spMkLst>
        </pc:spChg>
        <pc:spChg chg="add mod">
          <ac:chgData name="Krishna  Patel" userId="ed2200d0-4eed-40c6-ab36-78bc62005773" providerId="ADAL" clId="{7B184F28-718E-4974-B93F-601DFC94A538}" dt="2025-06-13T13:05:12.812" v="1761" actId="403"/>
          <ac:spMkLst>
            <pc:docMk/>
            <pc:sldMk cId="131038411" sldId="1544"/>
            <ac:spMk id="10" creationId="{F8A9AF69-AFC4-571F-19FD-04BAE9C61271}"/>
          </ac:spMkLst>
        </pc:spChg>
        <pc:spChg chg="add mod">
          <ac:chgData name="Krishna  Patel" userId="ed2200d0-4eed-40c6-ab36-78bc62005773" providerId="ADAL" clId="{7B184F28-718E-4974-B93F-601DFC94A538}" dt="2025-06-13T13:08:05.355" v="1801" actId="555"/>
          <ac:spMkLst>
            <pc:docMk/>
            <pc:sldMk cId="131038411" sldId="1544"/>
            <ac:spMk id="12" creationId="{9F3F2369-C69F-3E53-3495-3737A7CA93BE}"/>
          </ac:spMkLst>
        </pc:spChg>
        <pc:spChg chg="mod">
          <ac:chgData name="Krishna  Patel" userId="ed2200d0-4eed-40c6-ab36-78bc62005773" providerId="ADAL" clId="{7B184F28-718E-4974-B93F-601DFC94A538}" dt="2025-06-13T13:08:09.509" v="1802" actId="555"/>
          <ac:spMkLst>
            <pc:docMk/>
            <pc:sldMk cId="131038411" sldId="1544"/>
            <ac:spMk id="15" creationId="{CA5F6DA1-C6F8-346B-E96B-EEE0CF1F2F66}"/>
          </ac:spMkLst>
        </pc:spChg>
        <pc:spChg chg="add mod">
          <ac:chgData name="Krishna  Patel" userId="ed2200d0-4eed-40c6-ab36-78bc62005773" providerId="ADAL" clId="{7B184F28-718E-4974-B93F-601DFC94A538}" dt="2025-06-13T13:05:12.812" v="1761" actId="403"/>
          <ac:spMkLst>
            <pc:docMk/>
            <pc:sldMk cId="131038411" sldId="1544"/>
            <ac:spMk id="16" creationId="{1AC31388-9EE8-A040-709A-9D9BED4C01DB}"/>
          </ac:spMkLst>
        </pc:spChg>
        <pc:spChg chg="mod">
          <ac:chgData name="Krishna  Patel" userId="ed2200d0-4eed-40c6-ab36-78bc62005773" providerId="ADAL" clId="{7B184F28-718E-4974-B93F-601DFC94A538}" dt="2025-06-13T13:05:01.231" v="1760" actId="14100"/>
          <ac:spMkLst>
            <pc:docMk/>
            <pc:sldMk cId="131038411" sldId="1544"/>
            <ac:spMk id="17" creationId="{00E8CED2-DB3A-B1A1-8AAB-9C1DCFB1D4EE}"/>
          </ac:spMkLst>
        </pc:spChg>
        <pc:spChg chg="add mod">
          <ac:chgData name="Krishna  Patel" userId="ed2200d0-4eed-40c6-ab36-78bc62005773" providerId="ADAL" clId="{7B184F28-718E-4974-B93F-601DFC94A538}" dt="2025-06-13T13:08:16.421" v="1803" actId="14100"/>
          <ac:spMkLst>
            <pc:docMk/>
            <pc:sldMk cId="131038411" sldId="1544"/>
            <ac:spMk id="26" creationId="{82F2422B-1BEF-3F37-0960-B749D7C30679}"/>
          </ac:spMkLst>
        </pc:spChg>
        <pc:spChg chg="mod">
          <ac:chgData name="Krishna  Patel" userId="ed2200d0-4eed-40c6-ab36-78bc62005773" providerId="ADAL" clId="{7B184F28-718E-4974-B93F-601DFC94A538}" dt="2025-06-13T13:05:32.168" v="1764" actId="554"/>
          <ac:spMkLst>
            <pc:docMk/>
            <pc:sldMk cId="131038411" sldId="1544"/>
            <ac:spMk id="32" creationId="{BC938E1D-9B19-8852-28C2-6FB29F4A909D}"/>
          </ac:spMkLst>
        </pc:spChg>
        <pc:spChg chg="add mod">
          <ac:chgData name="Krishna  Patel" userId="ed2200d0-4eed-40c6-ab36-78bc62005773" providerId="ADAL" clId="{7B184F28-718E-4974-B93F-601DFC94A538}" dt="2025-06-13T13:06:00.274" v="1770" actId="12"/>
          <ac:spMkLst>
            <pc:docMk/>
            <pc:sldMk cId="131038411" sldId="1544"/>
            <ac:spMk id="33" creationId="{FA01D8CA-9ABE-5F29-09D3-C93BFC9F4EEA}"/>
          </ac:spMkLst>
        </pc:spChg>
        <pc:spChg chg="add mod">
          <ac:chgData name="Krishna  Patel" userId="ed2200d0-4eed-40c6-ab36-78bc62005773" providerId="ADAL" clId="{7B184F28-718E-4974-B93F-601DFC94A538}" dt="2025-06-13T13:07:42.279" v="1797" actId="14100"/>
          <ac:spMkLst>
            <pc:docMk/>
            <pc:sldMk cId="131038411" sldId="1544"/>
            <ac:spMk id="34" creationId="{2F1A5CAF-1CAB-B223-9C55-DB1589FE2FA8}"/>
          </ac:spMkLst>
        </pc:spChg>
        <pc:spChg chg="mod ord">
          <ac:chgData name="Krishna  Patel" userId="ed2200d0-4eed-40c6-ab36-78bc62005773" providerId="ADAL" clId="{7B184F28-718E-4974-B93F-601DFC94A538}" dt="2025-06-13T13:04:32.455" v="1754" actId="700"/>
          <ac:spMkLst>
            <pc:docMk/>
            <pc:sldMk cId="131038411" sldId="1544"/>
            <ac:spMk id="49" creationId="{0660B5E5-3C77-B303-8AE6-0867FC41F87E}"/>
          </ac:spMkLst>
        </pc:spChg>
        <pc:spChg chg="mod ord">
          <ac:chgData name="Krishna  Patel" userId="ed2200d0-4eed-40c6-ab36-78bc62005773" providerId="ADAL" clId="{7B184F28-718E-4974-B93F-601DFC94A538}" dt="2025-06-13T13:04:32.455" v="1754" actId="700"/>
          <ac:spMkLst>
            <pc:docMk/>
            <pc:sldMk cId="131038411" sldId="1544"/>
            <ac:spMk id="50" creationId="{8747EE5B-9C8F-029F-08FE-81F63E1ACDC1}"/>
          </ac:spMkLst>
        </pc:spChg>
        <pc:spChg chg="add mod">
          <ac:chgData name="Krishna  Patel" userId="ed2200d0-4eed-40c6-ab36-78bc62005773" providerId="ADAL" clId="{7B184F28-718E-4974-B93F-601DFC94A538}" dt="2025-06-13T13:05:12.812" v="1761" actId="403"/>
          <ac:spMkLst>
            <pc:docMk/>
            <pc:sldMk cId="131038411" sldId="1544"/>
            <ac:spMk id="51" creationId="{F565533F-987D-AF0A-A977-49327BF798B9}"/>
          </ac:spMkLst>
        </pc:spChg>
        <pc:spChg chg="mod">
          <ac:chgData name="Krishna  Patel" userId="ed2200d0-4eed-40c6-ab36-78bc62005773" providerId="ADAL" clId="{7B184F28-718E-4974-B93F-601DFC94A538}" dt="2025-06-13T13:08:16.421" v="1803" actId="14100"/>
          <ac:spMkLst>
            <pc:docMk/>
            <pc:sldMk cId="131038411" sldId="1544"/>
            <ac:spMk id="53" creationId="{A0A250BF-77EC-B76A-3AAC-69A6D58B9111}"/>
          </ac:spMkLst>
        </pc:spChg>
        <pc:spChg chg="add mod">
          <ac:chgData name="Krishna  Patel" userId="ed2200d0-4eed-40c6-ab36-78bc62005773" providerId="ADAL" clId="{7B184F28-718E-4974-B93F-601DFC94A538}" dt="2025-06-13T13:08:16.421" v="1803" actId="14100"/>
          <ac:spMkLst>
            <pc:docMk/>
            <pc:sldMk cId="131038411" sldId="1544"/>
            <ac:spMk id="56" creationId="{97492150-DCEF-C54A-28C1-8824CDAE967F}"/>
          </ac:spMkLst>
        </pc:spChg>
      </pc:sldChg>
      <pc:sldChg chg="add del">
        <pc:chgData name="Krishna  Patel" userId="ed2200d0-4eed-40c6-ab36-78bc62005773" providerId="ADAL" clId="{7B184F28-718E-4974-B93F-601DFC94A538}" dt="2025-06-13T12:50:47.207" v="1572" actId="47"/>
        <pc:sldMkLst>
          <pc:docMk/>
          <pc:sldMk cId="2788274041" sldId="1544"/>
        </pc:sldMkLst>
      </pc:sldChg>
      <pc:sldChg chg="new del">
        <pc:chgData name="Krishna  Patel" userId="ed2200d0-4eed-40c6-ab36-78bc62005773" providerId="ADAL" clId="{7B184F28-718E-4974-B93F-601DFC94A538}" dt="2025-06-13T13:52:59.296" v="2280" actId="680"/>
        <pc:sldMkLst>
          <pc:docMk/>
          <pc:sldMk cId="74929653" sldId="1549"/>
        </pc:sldMkLst>
      </pc:sldChg>
      <pc:sldChg chg="addSp modSp new mod">
        <pc:chgData name="Krishna  Patel" userId="ed2200d0-4eed-40c6-ab36-78bc62005773" providerId="ADAL" clId="{7B184F28-718E-4974-B93F-601DFC94A538}" dt="2025-06-13T13:54:57.230" v="2310" actId="1036"/>
        <pc:sldMkLst>
          <pc:docMk/>
          <pc:sldMk cId="642286714" sldId="1549"/>
        </pc:sldMkLst>
        <pc:spChg chg="add mod">
          <ac:chgData name="Krishna  Patel" userId="ed2200d0-4eed-40c6-ab36-78bc62005773" providerId="ADAL" clId="{7B184F28-718E-4974-B93F-601DFC94A538}" dt="2025-06-13T13:54:57.230" v="2310" actId="1036"/>
          <ac:spMkLst>
            <pc:docMk/>
            <pc:sldMk cId="642286714" sldId="1549"/>
            <ac:spMk id="7" creationId="{D72CD078-7119-EDC2-A5A2-AAE749144B1F}"/>
          </ac:spMkLst>
        </pc:spChg>
        <pc:picChg chg="add mod ord">
          <ac:chgData name="Krishna  Patel" userId="ed2200d0-4eed-40c6-ab36-78bc62005773" providerId="ADAL" clId="{7B184F28-718E-4974-B93F-601DFC94A538}" dt="2025-06-13T13:53:25.553" v="2283" actId="167"/>
          <ac:picMkLst>
            <pc:docMk/>
            <pc:sldMk cId="642286714" sldId="1549"/>
            <ac:picMk id="6" creationId="{A62A2E9E-3605-19A2-EED4-704FA219E1A8}"/>
          </ac:picMkLst>
        </pc:picChg>
        <pc:picChg chg="add mod">
          <ac:chgData name="Krishna  Patel" userId="ed2200d0-4eed-40c6-ab36-78bc62005773" providerId="ADAL" clId="{7B184F28-718E-4974-B93F-601DFC94A538}" dt="2025-06-13T13:54:57.230" v="2310" actId="1036"/>
          <ac:picMkLst>
            <pc:docMk/>
            <pc:sldMk cId="642286714" sldId="1549"/>
            <ac:picMk id="8" creationId="{0AB8EF82-5E45-66E5-916B-5F91A68EC700}"/>
          </ac:picMkLst>
        </pc:picChg>
        <pc:picChg chg="add mod">
          <ac:chgData name="Krishna  Patel" userId="ed2200d0-4eed-40c6-ab36-78bc62005773" providerId="ADAL" clId="{7B184F28-718E-4974-B93F-601DFC94A538}" dt="2025-06-13T13:54:57.230" v="2310" actId="1036"/>
          <ac:picMkLst>
            <pc:docMk/>
            <pc:sldMk cId="642286714" sldId="1549"/>
            <ac:picMk id="9" creationId="{FA370F39-9395-FAB4-969F-C7C6A1476AFC}"/>
          </ac:picMkLst>
        </pc:picChg>
      </pc:sldChg>
    </pc:docChg>
  </pc:docChgLst>
  <pc:docChgLst>
    <pc:chgData name="Divya Rank" userId="S::divya.rank@bluedataconsulting.in::8a86f94f-bc51-45b1-baba-7f5d30607298" providerId="AD" clId="Web-{FDB5549E-AC4A-4358-BD34-E462B9CCD607}"/>
    <pc:docChg chg="modSld">
      <pc:chgData name="Divya Rank" userId="S::divya.rank@bluedataconsulting.in::8a86f94f-bc51-45b1-baba-7f5d30607298" providerId="AD" clId="Web-{FDB5549E-AC4A-4358-BD34-E462B9CCD607}" dt="2025-06-11T11:42:35.034" v="55" actId="20577"/>
      <pc:docMkLst>
        <pc:docMk/>
      </pc:docMkLst>
      <pc:sldChg chg="modSp">
        <pc:chgData name="Divya Rank" userId="S::divya.rank@bluedataconsulting.in::8a86f94f-bc51-45b1-baba-7f5d30607298" providerId="AD" clId="Web-{FDB5549E-AC4A-4358-BD34-E462B9CCD607}" dt="2025-06-11T11:41:17.016" v="50" actId="20577"/>
        <pc:sldMkLst>
          <pc:docMk/>
          <pc:sldMk cId="985695435" sldId="1321"/>
        </pc:sldMkLst>
        <pc:spChg chg="mod">
          <ac:chgData name="Divya Rank" userId="S::divya.rank@bluedataconsulting.in::8a86f94f-bc51-45b1-baba-7f5d30607298" providerId="AD" clId="Web-{FDB5549E-AC4A-4358-BD34-E462B9CCD607}" dt="2025-06-11T11:41:17.016" v="50" actId="20577"/>
          <ac:spMkLst>
            <pc:docMk/>
            <pc:sldMk cId="985695435" sldId="1321"/>
            <ac:spMk id="8" creationId="{6C499199-20D1-6863-6490-184597A2281F}"/>
          </ac:spMkLst>
        </pc:spChg>
      </pc:sldChg>
      <pc:sldChg chg="modSp">
        <pc:chgData name="Divya Rank" userId="S::divya.rank@bluedataconsulting.in::8a86f94f-bc51-45b1-baba-7f5d30607298" providerId="AD" clId="Web-{FDB5549E-AC4A-4358-BD34-E462B9CCD607}" dt="2025-06-11T11:41:30.141" v="52" actId="20577"/>
        <pc:sldMkLst>
          <pc:docMk/>
          <pc:sldMk cId="2472576754" sldId="1418"/>
        </pc:sldMkLst>
        <pc:spChg chg="mod">
          <ac:chgData name="Divya Rank" userId="S::divya.rank@bluedataconsulting.in::8a86f94f-bc51-45b1-baba-7f5d30607298" providerId="AD" clId="Web-{FDB5549E-AC4A-4358-BD34-E462B9CCD607}" dt="2025-06-11T11:41:26.594" v="51" actId="20577"/>
          <ac:spMkLst>
            <pc:docMk/>
            <pc:sldMk cId="2472576754" sldId="1418"/>
            <ac:spMk id="8" creationId="{C6DEE54B-1DD1-2232-FAD5-C2AF2D7EF248}"/>
          </ac:spMkLst>
        </pc:spChg>
        <pc:spChg chg="mod">
          <ac:chgData name="Divya Rank" userId="S::divya.rank@bluedataconsulting.in::8a86f94f-bc51-45b1-baba-7f5d30607298" providerId="AD" clId="Web-{FDB5549E-AC4A-4358-BD34-E462B9CCD607}" dt="2025-06-11T11:41:30.141" v="52" actId="20577"/>
          <ac:spMkLst>
            <pc:docMk/>
            <pc:sldMk cId="2472576754" sldId="1418"/>
            <ac:spMk id="9" creationId="{FD33DE69-955A-C22D-8A13-3C2A18A40D21}"/>
          </ac:spMkLst>
        </pc:spChg>
      </pc:sldChg>
      <pc:sldChg chg="modSp">
        <pc:chgData name="Divya Rank" userId="S::divya.rank@bluedataconsulting.in::8a86f94f-bc51-45b1-baba-7f5d30607298" providerId="AD" clId="Web-{FDB5549E-AC4A-4358-BD34-E462B9CCD607}" dt="2025-06-11T11:40:58.406" v="48" actId="20577"/>
        <pc:sldMkLst>
          <pc:docMk/>
          <pc:sldMk cId="3949210566" sldId="1515"/>
        </pc:sldMkLst>
        <pc:spChg chg="mod">
          <ac:chgData name="Divya Rank" userId="S::divya.rank@bluedataconsulting.in::8a86f94f-bc51-45b1-baba-7f5d30607298" providerId="AD" clId="Web-{FDB5549E-AC4A-4358-BD34-E462B9CCD607}" dt="2025-06-11T11:40:58.406" v="48" actId="20577"/>
          <ac:spMkLst>
            <pc:docMk/>
            <pc:sldMk cId="3949210566" sldId="1515"/>
            <ac:spMk id="11" creationId="{A0DFA08C-74AE-5049-C070-BB64FE80E3BD}"/>
          </ac:spMkLst>
        </pc:spChg>
      </pc:sldChg>
      <pc:sldChg chg="modSp">
        <pc:chgData name="Divya Rank" userId="S::divya.rank@bluedataconsulting.in::8a86f94f-bc51-45b1-baba-7f5d30607298" providerId="AD" clId="Web-{FDB5549E-AC4A-4358-BD34-E462B9CCD607}" dt="2025-06-11T11:42:35.034" v="55" actId="20577"/>
        <pc:sldMkLst>
          <pc:docMk/>
          <pc:sldMk cId="4150848885" sldId="1517"/>
        </pc:sldMkLst>
        <pc:spChg chg="mod">
          <ac:chgData name="Divya Rank" userId="S::divya.rank@bluedataconsulting.in::8a86f94f-bc51-45b1-baba-7f5d30607298" providerId="AD" clId="Web-{FDB5549E-AC4A-4358-BD34-E462B9CCD607}" dt="2025-06-11T11:42:35.034" v="55" actId="20577"/>
          <ac:spMkLst>
            <pc:docMk/>
            <pc:sldMk cId="4150848885" sldId="1517"/>
            <ac:spMk id="11" creationId="{581CB975-7A95-5EEB-3BFE-F5EE55561B78}"/>
          </ac:spMkLst>
        </pc:spChg>
      </pc:sldChg>
    </pc:docChg>
  </pc:docChgLst>
  <pc:docChgLst>
    <pc:chgData name="Krishna Sharma" userId="daa697d5-8440-4694-9c7d-792884c08b9c" providerId="ADAL" clId="{B4579E5E-03A0-4E5F-BD25-DF36BA6F0B1D}"/>
    <pc:docChg chg="custSel modSld">
      <pc:chgData name="Krishna Sharma" userId="daa697d5-8440-4694-9c7d-792884c08b9c" providerId="ADAL" clId="{B4579E5E-03A0-4E5F-BD25-DF36BA6F0B1D}" dt="2025-06-13T10:07:57.542" v="73" actId="1076"/>
      <pc:docMkLst>
        <pc:docMk/>
      </pc:docMkLst>
      <pc:sldChg chg="modSp mod">
        <pc:chgData name="Krishna Sharma" userId="daa697d5-8440-4694-9c7d-792884c08b9c" providerId="ADAL" clId="{B4579E5E-03A0-4E5F-BD25-DF36BA6F0B1D}" dt="2025-06-13T09:47:10.480" v="64" actId="1036"/>
        <pc:sldMkLst>
          <pc:docMk/>
          <pc:sldMk cId="1966804136" sldId="1368"/>
        </pc:sldMkLst>
      </pc:sldChg>
      <pc:sldChg chg="addSp delSp modSp mod">
        <pc:chgData name="Krishna Sharma" userId="daa697d5-8440-4694-9c7d-792884c08b9c" providerId="ADAL" clId="{B4579E5E-03A0-4E5F-BD25-DF36BA6F0B1D}" dt="2025-06-13T09:24:06.003" v="61" actId="1076"/>
        <pc:sldMkLst>
          <pc:docMk/>
          <pc:sldMk cId="130700123" sldId="1369"/>
        </pc:sldMkLst>
      </pc:sldChg>
      <pc:sldChg chg="delSp mod">
        <pc:chgData name="Krishna Sharma" userId="daa697d5-8440-4694-9c7d-792884c08b9c" providerId="ADAL" clId="{B4579E5E-03A0-4E5F-BD25-DF36BA6F0B1D}" dt="2025-06-13T09:58:02.255" v="65" actId="478"/>
        <pc:sldMkLst>
          <pc:docMk/>
          <pc:sldMk cId="2865006180" sldId="1371"/>
        </pc:sldMkLst>
      </pc:sldChg>
      <pc:sldChg chg="addSp delSp modSp mod">
        <pc:chgData name="Krishna Sharma" userId="daa697d5-8440-4694-9c7d-792884c08b9c" providerId="ADAL" clId="{B4579E5E-03A0-4E5F-BD25-DF36BA6F0B1D}" dt="2025-06-13T08:05:11.216" v="12"/>
        <pc:sldMkLst>
          <pc:docMk/>
          <pc:sldMk cId="127296720" sldId="1491"/>
        </pc:sldMkLst>
        <pc:picChg chg="add mod">
          <ac:chgData name="Krishna Sharma" userId="daa697d5-8440-4694-9c7d-792884c08b9c" providerId="ADAL" clId="{B4579E5E-03A0-4E5F-BD25-DF36BA6F0B1D}" dt="2025-06-13T08:05:11.216" v="12"/>
          <ac:picMkLst>
            <pc:docMk/>
            <pc:sldMk cId="127296720" sldId="1491"/>
            <ac:picMk id="7" creationId="{AF297B3A-FC84-266E-A2C0-A5049A8DD17D}"/>
          </ac:picMkLst>
        </pc:picChg>
      </pc:sldChg>
      <pc:sldChg chg="addSp delSp modSp mod">
        <pc:chgData name="Krishna Sharma" userId="daa697d5-8440-4694-9c7d-792884c08b9c" providerId="ADAL" clId="{B4579E5E-03A0-4E5F-BD25-DF36BA6F0B1D}" dt="2025-06-13T08:26:31.616" v="19" actId="1076"/>
        <pc:sldMkLst>
          <pc:docMk/>
          <pc:sldMk cId="1158807392" sldId="1493"/>
        </pc:sldMkLst>
        <pc:picChg chg="add mod">
          <ac:chgData name="Krishna Sharma" userId="daa697d5-8440-4694-9c7d-792884c08b9c" providerId="ADAL" clId="{B4579E5E-03A0-4E5F-BD25-DF36BA6F0B1D}" dt="2025-06-13T08:26:31.616" v="19" actId="1076"/>
          <ac:picMkLst>
            <pc:docMk/>
            <pc:sldMk cId="1158807392" sldId="1493"/>
            <ac:picMk id="2052" creationId="{35C8482F-AA58-7515-A6A6-5F971A998E57}"/>
          </ac:picMkLst>
        </pc:picChg>
      </pc:sldChg>
      <pc:sldChg chg="addSp delSp modSp mod">
        <pc:chgData name="Krishna Sharma" userId="daa697d5-8440-4694-9c7d-792884c08b9c" providerId="ADAL" clId="{B4579E5E-03A0-4E5F-BD25-DF36BA6F0B1D}" dt="2025-06-13T08:37:24.926" v="26"/>
        <pc:sldMkLst>
          <pc:docMk/>
          <pc:sldMk cId="604848690" sldId="1494"/>
        </pc:sldMkLst>
        <pc:picChg chg="add mod">
          <ac:chgData name="Krishna Sharma" userId="daa697d5-8440-4694-9c7d-792884c08b9c" providerId="ADAL" clId="{B4579E5E-03A0-4E5F-BD25-DF36BA6F0B1D}" dt="2025-06-13T08:37:24.926" v="26"/>
          <ac:picMkLst>
            <pc:docMk/>
            <pc:sldMk cId="604848690" sldId="1494"/>
            <ac:picMk id="5" creationId="{A5BDB366-BD41-8DA8-399D-029AEC424EC7}"/>
          </ac:picMkLst>
        </pc:picChg>
      </pc:sldChg>
      <pc:sldChg chg="addSp delSp modSp mod">
        <pc:chgData name="Krishna Sharma" userId="daa697d5-8440-4694-9c7d-792884c08b9c" providerId="ADAL" clId="{B4579E5E-03A0-4E5F-BD25-DF36BA6F0B1D}" dt="2025-06-13T08:42:20.585" v="30" actId="1076"/>
        <pc:sldMkLst>
          <pc:docMk/>
          <pc:sldMk cId="1130605282" sldId="1495"/>
        </pc:sldMkLst>
        <pc:picChg chg="add mod">
          <ac:chgData name="Krishna Sharma" userId="daa697d5-8440-4694-9c7d-792884c08b9c" providerId="ADAL" clId="{B4579E5E-03A0-4E5F-BD25-DF36BA6F0B1D}" dt="2025-06-13T08:42:20.585" v="30" actId="1076"/>
          <ac:picMkLst>
            <pc:docMk/>
            <pc:sldMk cId="1130605282" sldId="1495"/>
            <ac:picMk id="5122" creationId="{0C1C4303-3BA5-8884-6A2E-4A49A398587A}"/>
          </ac:picMkLst>
        </pc:picChg>
      </pc:sldChg>
      <pc:sldChg chg="addSp delSp modSp mod">
        <pc:chgData name="Krishna Sharma" userId="daa697d5-8440-4694-9c7d-792884c08b9c" providerId="ADAL" clId="{B4579E5E-03A0-4E5F-BD25-DF36BA6F0B1D}" dt="2025-06-13T09:11:44.415" v="54" actId="1076"/>
        <pc:sldMkLst>
          <pc:docMk/>
          <pc:sldMk cId="1523651696" sldId="1496"/>
        </pc:sldMkLst>
        <pc:picChg chg="add mod">
          <ac:chgData name="Krishna Sharma" userId="daa697d5-8440-4694-9c7d-792884c08b9c" providerId="ADAL" clId="{B4579E5E-03A0-4E5F-BD25-DF36BA6F0B1D}" dt="2025-06-13T09:11:44.415" v="54" actId="1076"/>
          <ac:picMkLst>
            <pc:docMk/>
            <pc:sldMk cId="1523651696" sldId="1496"/>
            <ac:picMk id="15" creationId="{E3374173-0EBD-A38D-915D-04177F5D9B26}"/>
          </ac:picMkLst>
        </pc:picChg>
      </pc:sldChg>
      <pc:sldChg chg="addSp delSp modSp mod">
        <pc:chgData name="Krishna Sharma" userId="daa697d5-8440-4694-9c7d-792884c08b9c" providerId="ADAL" clId="{B4579E5E-03A0-4E5F-BD25-DF36BA6F0B1D}" dt="2025-06-13T08:37:16.299" v="24" actId="1076"/>
        <pc:sldMkLst>
          <pc:docMk/>
          <pc:sldMk cId="2417004778" sldId="1498"/>
        </pc:sldMkLst>
        <pc:picChg chg="add mod">
          <ac:chgData name="Krishna Sharma" userId="daa697d5-8440-4694-9c7d-792884c08b9c" providerId="ADAL" clId="{B4579E5E-03A0-4E5F-BD25-DF36BA6F0B1D}" dt="2025-06-13T08:37:16.299" v="24" actId="1076"/>
          <ac:picMkLst>
            <pc:docMk/>
            <pc:sldMk cId="2417004778" sldId="1498"/>
            <ac:picMk id="4098" creationId="{FAD852DA-3004-B6B4-C3C7-5F00E6F505CF}"/>
          </ac:picMkLst>
        </pc:picChg>
      </pc:sldChg>
      <pc:sldChg chg="addSp delSp modSp mod">
        <pc:chgData name="Krishna Sharma" userId="daa697d5-8440-4694-9c7d-792884c08b9c" providerId="ADAL" clId="{B4579E5E-03A0-4E5F-BD25-DF36BA6F0B1D}" dt="2025-06-13T08:04:55.740" v="5" actId="1076"/>
        <pc:sldMkLst>
          <pc:docMk/>
          <pc:sldMk cId="88185852" sldId="1499"/>
        </pc:sldMkLst>
      </pc:sldChg>
      <pc:sldChg chg="addSp delSp modSp mod">
        <pc:chgData name="Krishna Sharma" userId="daa697d5-8440-4694-9c7d-792884c08b9c" providerId="ADAL" clId="{B4579E5E-03A0-4E5F-BD25-DF36BA6F0B1D}" dt="2025-06-13T08:42:29.429" v="32"/>
        <pc:sldMkLst>
          <pc:docMk/>
          <pc:sldMk cId="740212731" sldId="1501"/>
        </pc:sldMkLst>
        <pc:picChg chg="add mod">
          <ac:chgData name="Krishna Sharma" userId="daa697d5-8440-4694-9c7d-792884c08b9c" providerId="ADAL" clId="{B4579E5E-03A0-4E5F-BD25-DF36BA6F0B1D}" dt="2025-06-13T08:42:29.429" v="32"/>
          <ac:picMkLst>
            <pc:docMk/>
            <pc:sldMk cId="740212731" sldId="1501"/>
            <ac:picMk id="5" creationId="{5861AD08-3147-57A0-90BB-BBFEB8BE12D2}"/>
          </ac:picMkLst>
        </pc:picChg>
      </pc:sldChg>
      <pc:sldChg chg="addSp delSp modSp mod">
        <pc:chgData name="Krishna Sharma" userId="daa697d5-8440-4694-9c7d-792884c08b9c" providerId="ADAL" clId="{B4579E5E-03A0-4E5F-BD25-DF36BA6F0B1D}" dt="2025-06-13T09:11:51.150" v="56"/>
        <pc:sldMkLst>
          <pc:docMk/>
          <pc:sldMk cId="3432880316" sldId="1502"/>
        </pc:sldMkLst>
        <pc:picChg chg="add mod">
          <ac:chgData name="Krishna Sharma" userId="daa697d5-8440-4694-9c7d-792884c08b9c" providerId="ADAL" clId="{B4579E5E-03A0-4E5F-BD25-DF36BA6F0B1D}" dt="2025-06-13T09:11:51.150" v="56"/>
          <ac:picMkLst>
            <pc:docMk/>
            <pc:sldMk cId="3432880316" sldId="1502"/>
            <ac:picMk id="5" creationId="{696324E1-8C17-C9F1-3988-3C5071889F64}"/>
          </ac:picMkLst>
        </pc:picChg>
      </pc:sldChg>
      <pc:sldChg chg="delSp mod">
        <pc:chgData name="Krishna Sharma" userId="daa697d5-8440-4694-9c7d-792884c08b9c" providerId="ADAL" clId="{B4579E5E-03A0-4E5F-BD25-DF36BA6F0B1D}" dt="2025-06-13T09:58:08.589" v="66" actId="478"/>
        <pc:sldMkLst>
          <pc:docMk/>
          <pc:sldMk cId="2490475139" sldId="1505"/>
        </pc:sldMkLst>
      </pc:sldChg>
      <pc:sldChg chg="addSp delSp modSp mod">
        <pc:chgData name="Krishna Sharma" userId="daa697d5-8440-4694-9c7d-792884c08b9c" providerId="ADAL" clId="{B4579E5E-03A0-4E5F-BD25-DF36BA6F0B1D}" dt="2025-06-13T10:07:57.542" v="73" actId="1076"/>
        <pc:sldMkLst>
          <pc:docMk/>
          <pc:sldMk cId="117637490" sldId="1511"/>
        </pc:sldMkLst>
        <pc:picChg chg="add mod">
          <ac:chgData name="Krishna Sharma" userId="daa697d5-8440-4694-9c7d-792884c08b9c" providerId="ADAL" clId="{B4579E5E-03A0-4E5F-BD25-DF36BA6F0B1D}" dt="2025-06-13T10:07:57.542" v="73" actId="1076"/>
          <ac:picMkLst>
            <pc:docMk/>
            <pc:sldMk cId="117637490" sldId="1511"/>
            <ac:picMk id="24" creationId="{3A85F482-398E-6E90-D092-23F93521B49F}"/>
          </ac:picMkLst>
        </pc:picChg>
      </pc:sldChg>
    </pc:docChg>
  </pc:docChgLst>
  <pc:docChgLst>
    <pc:chgData name="Anand Singh" userId="S::anand.singh@bluedataconsulting.in::024e4842-ae34-4cb2-9023-4f477d26b9d9" providerId="AD" clId="Web-{EDA04640-A9F8-1AD7-CEDE-40654484D94E}"/>
    <pc:docChg chg="modSld">
      <pc:chgData name="Anand Singh" userId="S::anand.singh@bluedataconsulting.in::024e4842-ae34-4cb2-9023-4f477d26b9d9" providerId="AD" clId="Web-{EDA04640-A9F8-1AD7-CEDE-40654484D94E}" dt="2025-06-13T15:10:42.430" v="1" actId="20577"/>
      <pc:docMkLst>
        <pc:docMk/>
      </pc:docMkLst>
      <pc:sldChg chg="modSp">
        <pc:chgData name="Anand Singh" userId="S::anand.singh@bluedataconsulting.in::024e4842-ae34-4cb2-9023-4f477d26b9d9" providerId="AD" clId="Web-{EDA04640-A9F8-1AD7-CEDE-40654484D94E}" dt="2025-06-13T15:10:42.430" v="1" actId="20577"/>
        <pc:sldMkLst>
          <pc:docMk/>
          <pc:sldMk cId="2954267522" sldId="1372"/>
        </pc:sldMkLst>
        <pc:spChg chg="mod">
          <ac:chgData name="Anand Singh" userId="S::anand.singh@bluedataconsulting.in::024e4842-ae34-4cb2-9023-4f477d26b9d9" providerId="AD" clId="Web-{EDA04640-A9F8-1AD7-CEDE-40654484D94E}" dt="2025-06-13T15:10:42.430" v="1" actId="20577"/>
          <ac:spMkLst>
            <pc:docMk/>
            <pc:sldMk cId="2954267522" sldId="1372"/>
            <ac:spMk id="6" creationId="{912467F1-6526-B33B-23AC-45E2823731EF}"/>
          </ac:spMkLst>
        </pc:spChg>
      </pc:sldChg>
    </pc:docChg>
  </pc:docChgLst>
  <pc:docChgLst>
    <pc:chgData name="Anshu Pandey" userId="37883d53-0acc-4b4f-998c-de7c94b25306" providerId="ADAL" clId="{CB17FBED-52E9-4853-B21D-346B156A07DD}"/>
    <pc:docChg chg="undo custSel modSld">
      <pc:chgData name="Anshu Pandey" userId="37883d53-0acc-4b4f-998c-de7c94b25306" providerId="ADAL" clId="{CB17FBED-52E9-4853-B21D-346B156A07DD}" dt="2025-06-10T11:04:49.776" v="39" actId="1035"/>
      <pc:docMkLst>
        <pc:docMk/>
      </pc:docMkLst>
      <pc:sldChg chg="modSp mod">
        <pc:chgData name="Anshu Pandey" userId="37883d53-0acc-4b4f-998c-de7c94b25306" providerId="ADAL" clId="{CB17FBED-52E9-4853-B21D-346B156A07DD}" dt="2025-06-10T11:04:49.776" v="39" actId="1035"/>
        <pc:sldMkLst>
          <pc:docMk/>
          <pc:sldMk cId="3717373615" sldId="310"/>
        </pc:sldMkLst>
        <pc:spChg chg="mod">
          <ac:chgData name="Anshu Pandey" userId="37883d53-0acc-4b4f-998c-de7c94b25306" providerId="ADAL" clId="{CB17FBED-52E9-4853-B21D-346B156A07DD}" dt="2025-06-10T11:04:49.776" v="39" actId="1035"/>
          <ac:spMkLst>
            <pc:docMk/>
            <pc:sldMk cId="3717373615" sldId="310"/>
            <ac:spMk id="15" creationId="{B76CECBB-F302-DC01-BE3C-B7ECF1EC3FC7}"/>
          </ac:spMkLst>
        </pc:spChg>
      </pc:sldChg>
      <pc:sldChg chg="addSp modSp mod">
        <pc:chgData name="Anshu Pandey" userId="37883d53-0acc-4b4f-998c-de7c94b25306" providerId="ADAL" clId="{CB17FBED-52E9-4853-B21D-346B156A07DD}" dt="2025-06-10T11:04:05.428" v="37" actId="1076"/>
        <pc:sldMkLst>
          <pc:docMk/>
          <pc:sldMk cId="1410339993" sldId="1319"/>
        </pc:sldMkLst>
        <pc:spChg chg="mod">
          <ac:chgData name="Anshu Pandey" userId="37883d53-0acc-4b4f-998c-de7c94b25306" providerId="ADAL" clId="{CB17FBED-52E9-4853-B21D-346B156A07DD}" dt="2025-06-10T11:03:48.168" v="34" actId="164"/>
          <ac:spMkLst>
            <pc:docMk/>
            <pc:sldMk cId="1410339993" sldId="1319"/>
            <ac:spMk id="29" creationId="{B1E8FA31-7B38-9A8F-02DF-1E276EF2DC61}"/>
          </ac:spMkLst>
        </pc:spChg>
        <pc:spChg chg="mod">
          <ac:chgData name="Anshu Pandey" userId="37883d53-0acc-4b4f-998c-de7c94b25306" providerId="ADAL" clId="{CB17FBED-52E9-4853-B21D-346B156A07DD}" dt="2025-06-10T11:03:48.168" v="34" actId="164"/>
          <ac:spMkLst>
            <pc:docMk/>
            <pc:sldMk cId="1410339993" sldId="1319"/>
            <ac:spMk id="30" creationId="{69F12A31-7B9F-E56C-A0C4-420F2D730E28}"/>
          </ac:spMkLst>
        </pc:spChg>
        <pc:spChg chg="mod">
          <ac:chgData name="Anshu Pandey" userId="37883d53-0acc-4b4f-998c-de7c94b25306" providerId="ADAL" clId="{CB17FBED-52E9-4853-B21D-346B156A07DD}" dt="2025-06-10T11:03:48.168" v="34" actId="164"/>
          <ac:spMkLst>
            <pc:docMk/>
            <pc:sldMk cId="1410339993" sldId="1319"/>
            <ac:spMk id="31" creationId="{720B5260-FF86-0E91-EF2C-3BC98730C5B2}"/>
          </ac:spMkLst>
        </pc:spChg>
        <pc:spChg chg="mod">
          <ac:chgData name="Anshu Pandey" userId="37883d53-0acc-4b4f-998c-de7c94b25306" providerId="ADAL" clId="{CB17FBED-52E9-4853-B21D-346B156A07DD}" dt="2025-06-10T11:03:52.649" v="35" actId="164"/>
          <ac:spMkLst>
            <pc:docMk/>
            <pc:sldMk cId="1410339993" sldId="1319"/>
            <ac:spMk id="35" creationId="{5CE0CEAF-8EBA-B954-FEEF-31426AF83A66}"/>
          </ac:spMkLst>
        </pc:spChg>
        <pc:spChg chg="mod">
          <ac:chgData name="Anshu Pandey" userId="37883d53-0acc-4b4f-998c-de7c94b25306" providerId="ADAL" clId="{CB17FBED-52E9-4853-B21D-346B156A07DD}" dt="2025-06-10T11:03:52.649" v="35" actId="164"/>
          <ac:spMkLst>
            <pc:docMk/>
            <pc:sldMk cId="1410339993" sldId="1319"/>
            <ac:spMk id="36" creationId="{030414E4-0687-BE0B-013B-E9379A579763}"/>
          </ac:spMkLst>
        </pc:spChg>
        <pc:spChg chg="mod">
          <ac:chgData name="Anshu Pandey" userId="37883d53-0acc-4b4f-998c-de7c94b25306" providerId="ADAL" clId="{CB17FBED-52E9-4853-B21D-346B156A07DD}" dt="2025-06-10T11:03:52.649" v="35" actId="164"/>
          <ac:spMkLst>
            <pc:docMk/>
            <pc:sldMk cId="1410339993" sldId="1319"/>
            <ac:spMk id="37" creationId="{E236F630-8507-2DF6-4B44-BB10765893EC}"/>
          </ac:spMkLst>
        </pc:spChg>
        <pc:grpChg chg="add mod">
          <ac:chgData name="Anshu Pandey" userId="37883d53-0acc-4b4f-998c-de7c94b25306" providerId="ADAL" clId="{CB17FBED-52E9-4853-B21D-346B156A07DD}" dt="2025-06-10T11:04:05.428" v="37" actId="1076"/>
          <ac:grpSpMkLst>
            <pc:docMk/>
            <pc:sldMk cId="1410339993" sldId="1319"/>
            <ac:grpSpMk id="3" creationId="{30C237C4-2C0A-35BB-671F-642DAFA98B76}"/>
          </ac:grpSpMkLst>
        </pc:grpChg>
        <pc:grpChg chg="add mod">
          <ac:chgData name="Anshu Pandey" userId="37883d53-0acc-4b4f-998c-de7c94b25306" providerId="ADAL" clId="{CB17FBED-52E9-4853-B21D-346B156A07DD}" dt="2025-06-10T11:03:54.958" v="36" actId="1076"/>
          <ac:grpSpMkLst>
            <pc:docMk/>
            <pc:sldMk cId="1410339993" sldId="1319"/>
            <ac:grpSpMk id="5" creationId="{F2ADF535-3D4F-3BDE-4E96-7FDF4E4C4ACC}"/>
          </ac:grpSpMkLst>
        </pc:grpChg>
      </pc:sldChg>
      <pc:sldChg chg="modSp mod">
        <pc:chgData name="Anshu Pandey" userId="37883d53-0acc-4b4f-998c-de7c94b25306" providerId="ADAL" clId="{CB17FBED-52E9-4853-B21D-346B156A07DD}" dt="2025-06-10T11:02:41.808" v="4" actId="113"/>
        <pc:sldMkLst>
          <pc:docMk/>
          <pc:sldMk cId="2521043094" sldId="1485"/>
        </pc:sldMkLst>
        <pc:spChg chg="mod">
          <ac:chgData name="Anshu Pandey" userId="37883d53-0acc-4b4f-998c-de7c94b25306" providerId="ADAL" clId="{CB17FBED-52E9-4853-B21D-346B156A07DD}" dt="2025-06-10T11:02:41.808" v="4" actId="113"/>
          <ac:spMkLst>
            <pc:docMk/>
            <pc:sldMk cId="2521043094" sldId="1485"/>
            <ac:spMk id="9" creationId="{3D85A627-3187-BA02-089C-7550BD8BA685}"/>
          </ac:spMkLst>
        </pc:spChg>
      </pc:sldChg>
      <pc:sldChg chg="modSp mod">
        <pc:chgData name="Anshu Pandey" userId="37883d53-0acc-4b4f-998c-de7c94b25306" providerId="ADAL" clId="{CB17FBED-52E9-4853-B21D-346B156A07DD}" dt="2025-06-10T11:03:19.765" v="8" actId="1076"/>
        <pc:sldMkLst>
          <pc:docMk/>
          <pc:sldMk cId="565224556" sldId="1510"/>
        </pc:sldMkLst>
        <pc:grpChg chg="mod">
          <ac:chgData name="Anshu Pandey" userId="37883d53-0acc-4b4f-998c-de7c94b25306" providerId="ADAL" clId="{CB17FBED-52E9-4853-B21D-346B156A07DD}" dt="2025-06-10T11:03:14.810" v="7" actId="1076"/>
          <ac:grpSpMkLst>
            <pc:docMk/>
            <pc:sldMk cId="565224556" sldId="1510"/>
            <ac:grpSpMk id="132" creationId="{C98A18AA-33CB-6D88-7CB7-9D28A26F74B8}"/>
          </ac:grpSpMkLst>
        </pc:grpChg>
        <pc:grpChg chg="mod">
          <ac:chgData name="Anshu Pandey" userId="37883d53-0acc-4b4f-998c-de7c94b25306" providerId="ADAL" clId="{CB17FBED-52E9-4853-B21D-346B156A07DD}" dt="2025-06-10T11:03:06.267" v="5" actId="1076"/>
          <ac:grpSpMkLst>
            <pc:docMk/>
            <pc:sldMk cId="565224556" sldId="1510"/>
            <ac:grpSpMk id="133" creationId="{D3247AE2-D1AE-D629-4F72-7CBCB566545C}"/>
          </ac:grpSpMkLst>
        </pc:grpChg>
        <pc:grpChg chg="mod">
          <ac:chgData name="Anshu Pandey" userId="37883d53-0acc-4b4f-998c-de7c94b25306" providerId="ADAL" clId="{CB17FBED-52E9-4853-B21D-346B156A07DD}" dt="2025-06-10T11:03:19.765" v="8" actId="1076"/>
          <ac:grpSpMkLst>
            <pc:docMk/>
            <pc:sldMk cId="565224556" sldId="1510"/>
            <ac:grpSpMk id="134" creationId="{6B737CDB-55CD-582F-804D-277BDACEE76F}"/>
          </ac:grpSpMkLst>
        </pc:grpChg>
        <pc:grpChg chg="mod">
          <ac:chgData name="Anshu Pandey" userId="37883d53-0acc-4b4f-998c-de7c94b25306" providerId="ADAL" clId="{CB17FBED-52E9-4853-B21D-346B156A07DD}" dt="2025-06-10T11:03:10.025" v="6" actId="1076"/>
          <ac:grpSpMkLst>
            <pc:docMk/>
            <pc:sldMk cId="565224556" sldId="1510"/>
            <ac:grpSpMk id="135" creationId="{D719671A-F491-28E9-E796-0B8F9AB494BE}"/>
          </ac:grpSpMkLst>
        </pc:grpChg>
      </pc:sldChg>
    </pc:docChg>
  </pc:docChgLst>
  <pc:docChgLst>
    <pc:chgData name="Krishna Sharma" userId="daa697d5-8440-4694-9c7d-792884c08b9c" providerId="ADAL" clId="{C5F3E3DB-464F-4B95-9A21-49385C74D1A0}"/>
    <pc:docChg chg="undo redo custSel addSld delSld modSld sldOrd delSection modSection">
      <pc:chgData name="Krishna Sharma" userId="daa697d5-8440-4694-9c7d-792884c08b9c" providerId="ADAL" clId="{C5F3E3DB-464F-4B95-9A21-49385C74D1A0}" dt="2025-06-10T10:17:42.939" v="1974" actId="20577"/>
      <pc:docMkLst>
        <pc:docMk/>
      </pc:docMkLst>
      <pc:sldChg chg="addSp modSp mod">
        <pc:chgData name="Krishna Sharma" userId="daa697d5-8440-4694-9c7d-792884c08b9c" providerId="ADAL" clId="{C5F3E3DB-464F-4B95-9A21-49385C74D1A0}" dt="2025-06-10T10:17:42.939" v="1974" actId="20577"/>
        <pc:sldMkLst>
          <pc:docMk/>
          <pc:sldMk cId="2593176626" sldId="1272"/>
        </pc:sldMkLst>
        <pc:graphicFrameChg chg="mod modGraphic">
          <ac:chgData name="Krishna Sharma" userId="daa697d5-8440-4694-9c7d-792884c08b9c" providerId="ADAL" clId="{C5F3E3DB-464F-4B95-9A21-49385C74D1A0}" dt="2025-06-10T10:17:42.939" v="1974" actId="20577"/>
          <ac:graphicFrameMkLst>
            <pc:docMk/>
            <pc:sldMk cId="2593176626" sldId="1272"/>
            <ac:graphicFrameMk id="13" creationId="{19E519E2-2134-4EF2-3A13-47DD86C33481}"/>
          </ac:graphicFrameMkLst>
        </pc:graphicFrameChg>
      </pc:sldChg>
      <pc:sldChg chg="addSp delSp modSp mod modCm">
        <pc:chgData name="Krishna Sharma" userId="daa697d5-8440-4694-9c7d-792884c08b9c" providerId="ADAL" clId="{C5F3E3DB-464F-4B95-9A21-49385C74D1A0}" dt="2025-06-10T07:41:49.455" v="831" actId="478"/>
        <pc:sldMkLst>
          <pc:docMk/>
          <pc:sldMk cId="1725199093" sldId="127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rishna Sharma" userId="daa697d5-8440-4694-9c7d-792884c08b9c" providerId="ADAL" clId="{C5F3E3DB-464F-4B95-9A21-49385C74D1A0}" dt="2025-06-10T07:41:40.554" v="830" actId="478"/>
              <pc2:cmMkLst xmlns:pc2="http://schemas.microsoft.com/office/powerpoint/2019/9/main/command">
                <pc:docMk/>
                <pc:sldMk cId="1725199093" sldId="1274"/>
                <pc2:cmMk id="{B473797A-88F2-4BAB-A216-2BEC78901EF2}"/>
              </pc2:cmMkLst>
            </pc226:cmChg>
          </p:ext>
        </pc:extLst>
      </pc:sldChg>
      <pc:sldChg chg="modSp mod">
        <pc:chgData name="Krishna Sharma" userId="daa697d5-8440-4694-9c7d-792884c08b9c" providerId="ADAL" clId="{C5F3E3DB-464F-4B95-9A21-49385C74D1A0}" dt="2025-06-10T06:59:27.066" v="511"/>
        <pc:sldMkLst>
          <pc:docMk/>
          <pc:sldMk cId="1699660927" sldId="1276"/>
        </pc:sldMkLst>
      </pc:sldChg>
      <pc:sldChg chg="delSp modSp add mod">
        <pc:chgData name="Krishna Sharma" userId="daa697d5-8440-4694-9c7d-792884c08b9c" providerId="ADAL" clId="{C5F3E3DB-464F-4B95-9A21-49385C74D1A0}" dt="2025-06-10T09:02:21.106" v="926" actId="2711"/>
        <pc:sldMkLst>
          <pc:docMk/>
          <pc:sldMk cId="3890595361" sldId="1282"/>
        </pc:sldMkLst>
      </pc:sldChg>
      <pc:sldChg chg="del">
        <pc:chgData name="Krishna Sharma" userId="daa697d5-8440-4694-9c7d-792884c08b9c" providerId="ADAL" clId="{C5F3E3DB-464F-4B95-9A21-49385C74D1A0}" dt="2025-06-10T05:57:38.417" v="0" actId="47"/>
        <pc:sldMkLst>
          <pc:docMk/>
          <pc:sldMk cId="132603118" sldId="1285"/>
        </pc:sldMkLst>
      </pc:sldChg>
      <pc:sldChg chg="modSp mod">
        <pc:chgData name="Krishna Sharma" userId="daa697d5-8440-4694-9c7d-792884c08b9c" providerId="ADAL" clId="{C5F3E3DB-464F-4B95-9A21-49385C74D1A0}" dt="2025-06-10T09:13:03.773" v="989" actId="14100"/>
        <pc:sldMkLst>
          <pc:docMk/>
          <pc:sldMk cId="596106588" sldId="1287"/>
        </pc:sldMkLst>
        <pc:spChg chg="mod">
          <ac:chgData name="Krishna Sharma" userId="daa697d5-8440-4694-9c7d-792884c08b9c" providerId="ADAL" clId="{C5F3E3DB-464F-4B95-9A21-49385C74D1A0}" dt="2025-06-10T09:13:03.773" v="989" actId="14100"/>
          <ac:spMkLst>
            <pc:docMk/>
            <pc:sldMk cId="596106588" sldId="1287"/>
            <ac:spMk id="2" creationId="{15E3B3A6-D6C0-A52D-127A-B2F76C51502C}"/>
          </ac:spMkLst>
        </pc:spChg>
      </pc:sldChg>
      <pc:sldChg chg="modSp mod">
        <pc:chgData name="Krishna Sharma" userId="daa697d5-8440-4694-9c7d-792884c08b9c" providerId="ADAL" clId="{C5F3E3DB-464F-4B95-9A21-49385C74D1A0}" dt="2025-06-10T09:13:17.214" v="990" actId="14100"/>
        <pc:sldMkLst>
          <pc:docMk/>
          <pc:sldMk cId="741064419" sldId="1292"/>
        </pc:sldMkLst>
        <pc:spChg chg="mod">
          <ac:chgData name="Krishna Sharma" userId="daa697d5-8440-4694-9c7d-792884c08b9c" providerId="ADAL" clId="{C5F3E3DB-464F-4B95-9A21-49385C74D1A0}" dt="2025-06-10T09:13:17.214" v="990" actId="14100"/>
          <ac:spMkLst>
            <pc:docMk/>
            <pc:sldMk cId="741064419" sldId="1292"/>
            <ac:spMk id="2" creationId="{8DC90BE5-3217-B772-B324-383996836666}"/>
          </ac:spMkLst>
        </pc:spChg>
      </pc:sldChg>
      <pc:sldChg chg="del">
        <pc:chgData name="Krishna Sharma" userId="daa697d5-8440-4694-9c7d-792884c08b9c" providerId="ADAL" clId="{C5F3E3DB-464F-4B95-9A21-49385C74D1A0}" dt="2025-06-10T08:53:38.694" v="845" actId="47"/>
        <pc:sldMkLst>
          <pc:docMk/>
          <pc:sldMk cId="3747822863" sldId="1294"/>
        </pc:sldMkLst>
      </pc:sldChg>
      <pc:sldChg chg="del">
        <pc:chgData name="Krishna Sharma" userId="daa697d5-8440-4694-9c7d-792884c08b9c" providerId="ADAL" clId="{C5F3E3DB-464F-4B95-9A21-49385C74D1A0}" dt="2025-06-10T07:00:30.406" v="512" actId="47"/>
        <pc:sldMkLst>
          <pc:docMk/>
          <pc:sldMk cId="46537825" sldId="1298"/>
        </pc:sldMkLst>
      </pc:sldChg>
      <pc:sldChg chg="del">
        <pc:chgData name="Krishna Sharma" userId="daa697d5-8440-4694-9c7d-792884c08b9c" providerId="ADAL" clId="{C5F3E3DB-464F-4B95-9A21-49385C74D1A0}" dt="2025-06-10T06:05:56.454" v="101" actId="47"/>
        <pc:sldMkLst>
          <pc:docMk/>
          <pc:sldMk cId="2370482112" sldId="1304"/>
        </pc:sldMkLst>
      </pc:sldChg>
      <pc:sldChg chg="delSp modSp mod">
        <pc:chgData name="Krishna Sharma" userId="daa697d5-8440-4694-9c7d-792884c08b9c" providerId="ADAL" clId="{C5F3E3DB-464F-4B95-9A21-49385C74D1A0}" dt="2025-06-10T09:16:20.935" v="996" actId="478"/>
        <pc:sldMkLst>
          <pc:docMk/>
          <pc:sldMk cId="4153874486" sldId="1305"/>
        </pc:sldMkLst>
      </pc:sldChg>
      <pc:sldChg chg="modSp del mod">
        <pc:chgData name="Krishna Sharma" userId="daa697d5-8440-4694-9c7d-792884c08b9c" providerId="ADAL" clId="{C5F3E3DB-464F-4B95-9A21-49385C74D1A0}" dt="2025-06-10T07:10:25.508" v="516" actId="47"/>
        <pc:sldMkLst>
          <pc:docMk/>
          <pc:sldMk cId="3920391527" sldId="1309"/>
        </pc:sldMkLst>
      </pc:sldChg>
      <pc:sldChg chg="del">
        <pc:chgData name="Krishna Sharma" userId="daa697d5-8440-4694-9c7d-792884c08b9c" providerId="ADAL" clId="{C5F3E3DB-464F-4B95-9A21-49385C74D1A0}" dt="2025-06-10T07:09:34.110" v="515" actId="47"/>
        <pc:sldMkLst>
          <pc:docMk/>
          <pc:sldMk cId="2262191740" sldId="1310"/>
        </pc:sldMkLst>
      </pc:sldChg>
      <pc:sldChg chg="del">
        <pc:chgData name="Krishna Sharma" userId="daa697d5-8440-4694-9c7d-792884c08b9c" providerId="ADAL" clId="{C5F3E3DB-464F-4B95-9A21-49385C74D1A0}" dt="2025-06-10T07:09:34.110" v="515" actId="47"/>
        <pc:sldMkLst>
          <pc:docMk/>
          <pc:sldMk cId="2803471545" sldId="1312"/>
        </pc:sldMkLst>
      </pc:sldChg>
      <pc:sldChg chg="del">
        <pc:chgData name="Krishna Sharma" userId="daa697d5-8440-4694-9c7d-792884c08b9c" providerId="ADAL" clId="{C5F3E3DB-464F-4B95-9A21-49385C74D1A0}" dt="2025-06-10T07:09:34.110" v="515" actId="47"/>
        <pc:sldMkLst>
          <pc:docMk/>
          <pc:sldMk cId="2635366087" sldId="1315"/>
        </pc:sldMkLst>
      </pc:sldChg>
      <pc:sldChg chg="del">
        <pc:chgData name="Krishna Sharma" userId="daa697d5-8440-4694-9c7d-792884c08b9c" providerId="ADAL" clId="{C5F3E3DB-464F-4B95-9A21-49385C74D1A0}" dt="2025-06-10T07:09:34.110" v="515" actId="47"/>
        <pc:sldMkLst>
          <pc:docMk/>
          <pc:sldMk cId="3576323805" sldId="1316"/>
        </pc:sldMkLst>
      </pc:sldChg>
      <pc:sldChg chg="addSp delSp modSp mod">
        <pc:chgData name="Krishna Sharma" userId="daa697d5-8440-4694-9c7d-792884c08b9c" providerId="ADAL" clId="{C5F3E3DB-464F-4B95-9A21-49385C74D1A0}" dt="2025-06-10T09:17:43.660" v="1020" actId="478"/>
        <pc:sldMkLst>
          <pc:docMk/>
          <pc:sldMk cId="1208051429" sldId="1318"/>
        </pc:sldMkLst>
        <pc:spChg chg="mod">
          <ac:chgData name="Krishna Sharma" userId="daa697d5-8440-4694-9c7d-792884c08b9c" providerId="ADAL" clId="{C5F3E3DB-464F-4B95-9A21-49385C74D1A0}" dt="2025-06-10T07:11:50.717" v="520" actId="1076"/>
          <ac:spMkLst>
            <pc:docMk/>
            <pc:sldMk cId="1208051429" sldId="1318"/>
            <ac:spMk id="4" creationId="{672C35C1-BF6F-D4B3-A070-966F3CA1E7F5}"/>
          </ac:spMkLst>
        </pc:spChg>
        <pc:spChg chg="mod">
          <ac:chgData name="Krishna Sharma" userId="daa697d5-8440-4694-9c7d-792884c08b9c" providerId="ADAL" clId="{C5F3E3DB-464F-4B95-9A21-49385C74D1A0}" dt="2025-06-10T09:16:57.170" v="1017" actId="20577"/>
          <ac:spMkLst>
            <pc:docMk/>
            <pc:sldMk cId="1208051429" sldId="1318"/>
            <ac:spMk id="13" creationId="{C29E7919-5CDB-29DA-C861-D506B7D16E2F}"/>
          </ac:spMkLst>
        </pc:spChg>
      </pc:sldChg>
      <pc:sldChg chg="delSp mod">
        <pc:chgData name="Krishna Sharma" userId="daa697d5-8440-4694-9c7d-792884c08b9c" providerId="ADAL" clId="{C5F3E3DB-464F-4B95-9A21-49385C74D1A0}" dt="2025-06-10T09:17:33.039" v="1019" actId="478"/>
        <pc:sldMkLst>
          <pc:docMk/>
          <pc:sldMk cId="1410339993" sldId="1319"/>
        </pc:sldMkLst>
      </pc:sldChg>
      <pc:sldChg chg="delSp modSp mod ord">
        <pc:chgData name="Krishna Sharma" userId="daa697d5-8440-4694-9c7d-792884c08b9c" providerId="ADAL" clId="{C5F3E3DB-464F-4B95-9A21-49385C74D1A0}" dt="2025-06-10T09:17:20.244" v="1018" actId="478"/>
        <pc:sldMkLst>
          <pc:docMk/>
          <pc:sldMk cId="4045290397" sldId="1320"/>
        </pc:sldMkLst>
        <pc:spChg chg="mod">
          <ac:chgData name="Krishna Sharma" userId="daa697d5-8440-4694-9c7d-792884c08b9c" providerId="ADAL" clId="{C5F3E3DB-464F-4B95-9A21-49385C74D1A0}" dt="2025-06-10T06:00:06.864" v="9" actId="1036"/>
          <ac:spMkLst>
            <pc:docMk/>
            <pc:sldMk cId="4045290397" sldId="1320"/>
            <ac:spMk id="2" creationId="{4D677FC3-A9AA-87F7-5205-1F4BA6E0D1A7}"/>
          </ac:spMkLst>
        </pc:spChg>
        <pc:spChg chg="mod">
          <ac:chgData name="Krishna Sharma" userId="daa697d5-8440-4694-9c7d-792884c08b9c" providerId="ADAL" clId="{C5F3E3DB-464F-4B95-9A21-49385C74D1A0}" dt="2025-06-10T06:02:50.233" v="66"/>
          <ac:spMkLst>
            <pc:docMk/>
            <pc:sldMk cId="4045290397" sldId="1320"/>
            <ac:spMk id="31" creationId="{2B512382-3587-8083-47A1-EBE56703D887}"/>
          </ac:spMkLst>
        </pc:spChg>
      </pc:sldChg>
      <pc:sldChg chg="modSp mod">
        <pc:chgData name="Krishna Sharma" userId="daa697d5-8440-4694-9c7d-792884c08b9c" providerId="ADAL" clId="{C5F3E3DB-464F-4B95-9A21-49385C74D1A0}" dt="2025-06-10T06:55:01.408" v="471"/>
        <pc:sldMkLst>
          <pc:docMk/>
          <pc:sldMk cId="985695435" sldId="1321"/>
        </pc:sldMkLst>
        <pc:spChg chg="mod">
          <ac:chgData name="Krishna Sharma" userId="daa697d5-8440-4694-9c7d-792884c08b9c" providerId="ADAL" clId="{C5F3E3DB-464F-4B95-9A21-49385C74D1A0}" dt="2025-06-10T06:55:01.408" v="471"/>
          <ac:spMkLst>
            <pc:docMk/>
            <pc:sldMk cId="985695435" sldId="1321"/>
            <ac:spMk id="4" creationId="{2C25F6F1-F396-502E-7E00-D9FF88E4474D}"/>
          </ac:spMkLst>
        </pc:spChg>
        <pc:spChg chg="mod">
          <ac:chgData name="Krishna Sharma" userId="daa697d5-8440-4694-9c7d-792884c08b9c" providerId="ADAL" clId="{C5F3E3DB-464F-4B95-9A21-49385C74D1A0}" dt="2025-06-10T06:07:35.252" v="117" actId="14100"/>
          <ac:spMkLst>
            <pc:docMk/>
            <pc:sldMk cId="985695435" sldId="1321"/>
            <ac:spMk id="8" creationId="{6C499199-20D1-6863-6490-184597A2281F}"/>
          </ac:spMkLst>
        </pc:spChg>
      </pc:sldChg>
      <pc:sldChg chg="modSp mod ord">
        <pc:chgData name="Krishna Sharma" userId="daa697d5-8440-4694-9c7d-792884c08b9c" providerId="ADAL" clId="{C5F3E3DB-464F-4B95-9A21-49385C74D1A0}" dt="2025-06-10T06:02:53.983" v="67"/>
        <pc:sldMkLst>
          <pc:docMk/>
          <pc:sldMk cId="2208417850" sldId="1325"/>
        </pc:sldMkLst>
        <pc:spChg chg="mod">
          <ac:chgData name="Krishna Sharma" userId="daa697d5-8440-4694-9c7d-792884c08b9c" providerId="ADAL" clId="{C5F3E3DB-464F-4B95-9A21-49385C74D1A0}" dt="2025-06-10T06:00:18.413" v="13" actId="1076"/>
          <ac:spMkLst>
            <pc:docMk/>
            <pc:sldMk cId="2208417850" sldId="1325"/>
            <ac:spMk id="2" creationId="{1E456090-5A95-607F-057B-89456B12506F}"/>
          </ac:spMkLst>
        </pc:spChg>
        <pc:spChg chg="mod">
          <ac:chgData name="Krishna Sharma" userId="daa697d5-8440-4694-9c7d-792884c08b9c" providerId="ADAL" clId="{C5F3E3DB-464F-4B95-9A21-49385C74D1A0}" dt="2025-06-10T06:02:53.983" v="67"/>
          <ac:spMkLst>
            <pc:docMk/>
            <pc:sldMk cId="2208417850" sldId="1325"/>
            <ac:spMk id="20" creationId="{CE0E5870-E238-B86A-63B3-295B6ACAFF18}"/>
          </ac:spMkLst>
        </pc:spChg>
      </pc:sldChg>
      <pc:sldChg chg="modSp mod ord">
        <pc:chgData name="Krishna Sharma" userId="daa697d5-8440-4694-9c7d-792884c08b9c" providerId="ADAL" clId="{C5F3E3DB-464F-4B95-9A21-49385C74D1A0}" dt="2025-06-10T06:02:59.311" v="69"/>
        <pc:sldMkLst>
          <pc:docMk/>
          <pc:sldMk cId="2422551007" sldId="1326"/>
        </pc:sldMkLst>
        <pc:spChg chg="mod">
          <ac:chgData name="Krishna Sharma" userId="daa697d5-8440-4694-9c7d-792884c08b9c" providerId="ADAL" clId="{C5F3E3DB-464F-4B95-9A21-49385C74D1A0}" dt="2025-06-10T06:00:40.363" v="29" actId="1036"/>
          <ac:spMkLst>
            <pc:docMk/>
            <pc:sldMk cId="2422551007" sldId="1326"/>
            <ac:spMk id="2" creationId="{9FE8E975-B007-5F01-7997-C23AF145B557}"/>
          </ac:spMkLst>
        </pc:spChg>
        <pc:spChg chg="mod">
          <ac:chgData name="Krishna Sharma" userId="daa697d5-8440-4694-9c7d-792884c08b9c" providerId="ADAL" clId="{C5F3E3DB-464F-4B95-9A21-49385C74D1A0}" dt="2025-06-10T06:02:59.311" v="69"/>
          <ac:spMkLst>
            <pc:docMk/>
            <pc:sldMk cId="2422551007" sldId="1326"/>
            <ac:spMk id="4" creationId="{979E31F4-A91E-D44C-4049-1B5A381E2F27}"/>
          </ac:spMkLst>
        </pc:spChg>
      </pc:sldChg>
      <pc:sldChg chg="modSp mod ord">
        <pc:chgData name="Krishna Sharma" userId="daa697d5-8440-4694-9c7d-792884c08b9c" providerId="ADAL" clId="{C5F3E3DB-464F-4B95-9A21-49385C74D1A0}" dt="2025-06-10T06:03:03.630" v="70"/>
        <pc:sldMkLst>
          <pc:docMk/>
          <pc:sldMk cId="3185590267" sldId="1327"/>
        </pc:sldMkLst>
        <pc:spChg chg="mod">
          <ac:chgData name="Krishna Sharma" userId="daa697d5-8440-4694-9c7d-792884c08b9c" providerId="ADAL" clId="{C5F3E3DB-464F-4B95-9A21-49385C74D1A0}" dt="2025-06-10T06:00:55.558" v="32" actId="1076"/>
          <ac:spMkLst>
            <pc:docMk/>
            <pc:sldMk cId="3185590267" sldId="1327"/>
            <ac:spMk id="2" creationId="{C2A6A1ED-1160-A8B8-8BCC-A4C48A688B58}"/>
          </ac:spMkLst>
        </pc:spChg>
        <pc:spChg chg="mod">
          <ac:chgData name="Krishna Sharma" userId="daa697d5-8440-4694-9c7d-792884c08b9c" providerId="ADAL" clId="{C5F3E3DB-464F-4B95-9A21-49385C74D1A0}" dt="2025-06-10T06:03:03.630" v="70"/>
          <ac:spMkLst>
            <pc:docMk/>
            <pc:sldMk cId="3185590267" sldId="1327"/>
            <ac:spMk id="20" creationId="{B108EAD2-9D18-3143-6CE3-23CC32483307}"/>
          </ac:spMkLst>
        </pc:spChg>
      </pc:sldChg>
      <pc:sldChg chg="modSp mod ord">
        <pc:chgData name="Krishna Sharma" userId="daa697d5-8440-4694-9c7d-792884c08b9c" providerId="ADAL" clId="{C5F3E3DB-464F-4B95-9A21-49385C74D1A0}" dt="2025-06-10T06:02:56.702" v="68"/>
        <pc:sldMkLst>
          <pc:docMk/>
          <pc:sldMk cId="3025924157" sldId="1329"/>
        </pc:sldMkLst>
        <pc:spChg chg="mod">
          <ac:chgData name="Krishna Sharma" userId="daa697d5-8440-4694-9c7d-792884c08b9c" providerId="ADAL" clId="{C5F3E3DB-464F-4B95-9A21-49385C74D1A0}" dt="2025-06-10T06:00:27.204" v="16" actId="1076"/>
          <ac:spMkLst>
            <pc:docMk/>
            <pc:sldMk cId="3025924157" sldId="1329"/>
            <ac:spMk id="2" creationId="{C3A1CC7A-9CCB-3D80-6B3A-2CFF7A87C6DC}"/>
          </ac:spMkLst>
        </pc:spChg>
        <pc:spChg chg="mod">
          <ac:chgData name="Krishna Sharma" userId="daa697d5-8440-4694-9c7d-792884c08b9c" providerId="ADAL" clId="{C5F3E3DB-464F-4B95-9A21-49385C74D1A0}" dt="2025-06-10T06:02:56.702" v="68"/>
          <ac:spMkLst>
            <pc:docMk/>
            <pc:sldMk cId="3025924157" sldId="1329"/>
            <ac:spMk id="4" creationId="{5EEE4845-83AF-E5F3-DD8F-E54100D3E57D}"/>
          </ac:spMkLst>
        </pc:spChg>
      </pc:sldChg>
      <pc:sldChg chg="modSp mod ord">
        <pc:chgData name="Krishna Sharma" userId="daa697d5-8440-4694-9c7d-792884c08b9c" providerId="ADAL" clId="{C5F3E3DB-464F-4B95-9A21-49385C74D1A0}" dt="2025-06-10T06:03:07.181" v="71"/>
        <pc:sldMkLst>
          <pc:docMk/>
          <pc:sldMk cId="4210696127" sldId="1330"/>
        </pc:sldMkLst>
        <pc:spChg chg="mod">
          <ac:chgData name="Krishna Sharma" userId="daa697d5-8440-4694-9c7d-792884c08b9c" providerId="ADAL" clId="{C5F3E3DB-464F-4B95-9A21-49385C74D1A0}" dt="2025-06-10T06:01:08.491" v="42" actId="1036"/>
          <ac:spMkLst>
            <pc:docMk/>
            <pc:sldMk cId="4210696127" sldId="1330"/>
            <ac:spMk id="2" creationId="{6129CD3D-04F8-AC92-BE41-369736E8F07D}"/>
          </ac:spMkLst>
        </pc:spChg>
        <pc:spChg chg="mod">
          <ac:chgData name="Krishna Sharma" userId="daa697d5-8440-4694-9c7d-792884c08b9c" providerId="ADAL" clId="{C5F3E3DB-464F-4B95-9A21-49385C74D1A0}" dt="2025-06-10T06:03:07.181" v="71"/>
          <ac:spMkLst>
            <pc:docMk/>
            <pc:sldMk cId="4210696127" sldId="1330"/>
            <ac:spMk id="4" creationId="{4222818B-99E0-5152-8ACD-AA250B652636}"/>
          </ac:spMkLst>
        </pc:spChg>
      </pc:sldChg>
      <pc:sldChg chg="modSp mod ord">
        <pc:chgData name="Krishna Sharma" userId="daa697d5-8440-4694-9c7d-792884c08b9c" providerId="ADAL" clId="{C5F3E3DB-464F-4B95-9A21-49385C74D1A0}" dt="2025-06-10T06:03:12.453" v="72"/>
        <pc:sldMkLst>
          <pc:docMk/>
          <pc:sldMk cId="428735658" sldId="1332"/>
        </pc:sldMkLst>
        <pc:spChg chg="mod">
          <ac:chgData name="Krishna Sharma" userId="daa697d5-8440-4694-9c7d-792884c08b9c" providerId="ADAL" clId="{C5F3E3DB-464F-4B95-9A21-49385C74D1A0}" dt="2025-06-10T06:01:17.254" v="52" actId="1036"/>
          <ac:spMkLst>
            <pc:docMk/>
            <pc:sldMk cId="428735658" sldId="1332"/>
            <ac:spMk id="2" creationId="{D3BEB841-2AEE-BE3D-A6B1-504625D21D57}"/>
          </ac:spMkLst>
        </pc:spChg>
        <pc:spChg chg="mod">
          <ac:chgData name="Krishna Sharma" userId="daa697d5-8440-4694-9c7d-792884c08b9c" providerId="ADAL" clId="{C5F3E3DB-464F-4B95-9A21-49385C74D1A0}" dt="2025-06-10T06:03:12.453" v="72"/>
          <ac:spMkLst>
            <pc:docMk/>
            <pc:sldMk cId="428735658" sldId="1332"/>
            <ac:spMk id="4" creationId="{FC3BFC4F-833E-7675-B727-E11C2954D428}"/>
          </ac:spMkLst>
        </pc:spChg>
      </pc:sldChg>
      <pc:sldChg chg="modSp mod ord">
        <pc:chgData name="Krishna Sharma" userId="daa697d5-8440-4694-9c7d-792884c08b9c" providerId="ADAL" clId="{C5F3E3DB-464F-4B95-9A21-49385C74D1A0}" dt="2025-06-10T06:03:15.292" v="73"/>
        <pc:sldMkLst>
          <pc:docMk/>
          <pc:sldMk cId="1218190992" sldId="1334"/>
        </pc:sldMkLst>
        <pc:spChg chg="mod">
          <ac:chgData name="Krishna Sharma" userId="daa697d5-8440-4694-9c7d-792884c08b9c" providerId="ADAL" clId="{C5F3E3DB-464F-4B95-9A21-49385C74D1A0}" dt="2025-06-10T06:01:27.673" v="56" actId="1076"/>
          <ac:spMkLst>
            <pc:docMk/>
            <pc:sldMk cId="1218190992" sldId="1334"/>
            <ac:spMk id="2" creationId="{F8BBC0D6-1518-EEA3-9970-8C4D30604055}"/>
          </ac:spMkLst>
        </pc:spChg>
        <pc:spChg chg="mod">
          <ac:chgData name="Krishna Sharma" userId="daa697d5-8440-4694-9c7d-792884c08b9c" providerId="ADAL" clId="{C5F3E3DB-464F-4B95-9A21-49385C74D1A0}" dt="2025-06-10T06:03:15.292" v="73"/>
          <ac:spMkLst>
            <pc:docMk/>
            <pc:sldMk cId="1218190992" sldId="1334"/>
            <ac:spMk id="4" creationId="{79583540-8931-16D2-B58C-69FCCDC30F3C}"/>
          </ac:spMkLst>
        </pc:spChg>
      </pc:sldChg>
      <pc:sldChg chg="modSp mod ord">
        <pc:chgData name="Krishna Sharma" userId="daa697d5-8440-4694-9c7d-792884c08b9c" providerId="ADAL" clId="{C5F3E3DB-464F-4B95-9A21-49385C74D1A0}" dt="2025-06-10T06:03:18.963" v="74"/>
        <pc:sldMkLst>
          <pc:docMk/>
          <pc:sldMk cId="2891399107" sldId="1335"/>
        </pc:sldMkLst>
        <pc:spChg chg="mod">
          <ac:chgData name="Krishna Sharma" userId="daa697d5-8440-4694-9c7d-792884c08b9c" providerId="ADAL" clId="{C5F3E3DB-464F-4B95-9A21-49385C74D1A0}" dt="2025-06-10T06:01:35.605" v="60" actId="1076"/>
          <ac:spMkLst>
            <pc:docMk/>
            <pc:sldMk cId="2891399107" sldId="1335"/>
            <ac:spMk id="2" creationId="{DF0A4362-B8C4-C485-D440-8E5C56061B29}"/>
          </ac:spMkLst>
        </pc:spChg>
        <pc:spChg chg="mod">
          <ac:chgData name="Krishna Sharma" userId="daa697d5-8440-4694-9c7d-792884c08b9c" providerId="ADAL" clId="{C5F3E3DB-464F-4B95-9A21-49385C74D1A0}" dt="2025-06-10T06:03:18.963" v="74"/>
          <ac:spMkLst>
            <pc:docMk/>
            <pc:sldMk cId="2891399107" sldId="1335"/>
            <ac:spMk id="17" creationId="{B4CB22F5-AF96-5D4F-9BA0-3E8F65195762}"/>
          </ac:spMkLst>
        </pc:spChg>
      </pc:sldChg>
      <pc:sldChg chg="modSp mod ord">
        <pc:chgData name="Krishna Sharma" userId="daa697d5-8440-4694-9c7d-792884c08b9c" providerId="ADAL" clId="{C5F3E3DB-464F-4B95-9A21-49385C74D1A0}" dt="2025-06-10T06:05:54.257" v="100"/>
        <pc:sldMkLst>
          <pc:docMk/>
          <pc:sldMk cId="3149786167" sldId="1336"/>
        </pc:sldMkLst>
      </pc:sldChg>
      <pc:sldChg chg="del ord">
        <pc:chgData name="Krishna Sharma" userId="daa697d5-8440-4694-9c7d-792884c08b9c" providerId="ADAL" clId="{C5F3E3DB-464F-4B95-9A21-49385C74D1A0}" dt="2025-06-10T07:35:27.009" v="806" actId="47"/>
        <pc:sldMkLst>
          <pc:docMk/>
          <pc:sldMk cId="1136387920" sldId="1367"/>
        </pc:sldMkLst>
      </pc:sldChg>
      <pc:sldChg chg="modSp ord">
        <pc:chgData name="Krishna Sharma" userId="daa697d5-8440-4694-9c7d-792884c08b9c" providerId="ADAL" clId="{C5F3E3DB-464F-4B95-9A21-49385C74D1A0}" dt="2025-06-10T06:55:12.944" v="474"/>
        <pc:sldMkLst>
          <pc:docMk/>
          <pc:sldMk cId="1966804136" sldId="1368"/>
        </pc:sldMkLst>
        <pc:spChg chg="mod">
          <ac:chgData name="Krishna Sharma" userId="daa697d5-8440-4694-9c7d-792884c08b9c" providerId="ADAL" clId="{C5F3E3DB-464F-4B95-9A21-49385C74D1A0}" dt="2025-06-10T06:55:12.944" v="474"/>
          <ac:spMkLst>
            <pc:docMk/>
            <pc:sldMk cId="1966804136" sldId="1368"/>
            <ac:spMk id="4" creationId="{AC642444-19A7-AD0A-5CE8-BE87F57FD769}"/>
          </ac:spMkLst>
        </pc:spChg>
      </pc:sldChg>
      <pc:sldChg chg="modSp mod ord">
        <pc:chgData name="Krishna Sharma" userId="daa697d5-8440-4694-9c7d-792884c08b9c" providerId="ADAL" clId="{C5F3E3DB-464F-4B95-9A21-49385C74D1A0}" dt="2025-06-10T06:55:04.582" v="472"/>
        <pc:sldMkLst>
          <pc:docMk/>
          <pc:sldMk cId="130700123" sldId="1369"/>
        </pc:sldMkLst>
        <pc:spChg chg="mod">
          <ac:chgData name="Krishna Sharma" userId="daa697d5-8440-4694-9c7d-792884c08b9c" providerId="ADAL" clId="{C5F3E3DB-464F-4B95-9A21-49385C74D1A0}" dt="2025-06-10T06:55:04.582" v="472"/>
          <ac:spMkLst>
            <pc:docMk/>
            <pc:sldMk cId="130700123" sldId="1369"/>
            <ac:spMk id="24" creationId="{E5B82A7D-55BF-9205-F906-9424BB869388}"/>
          </ac:spMkLst>
        </pc:spChg>
        <pc:spChg chg="mod">
          <ac:chgData name="Krishna Sharma" userId="daa697d5-8440-4694-9c7d-792884c08b9c" providerId="ADAL" clId="{C5F3E3DB-464F-4B95-9A21-49385C74D1A0}" dt="2025-06-10T06:09:23.413" v="126" actId="20577"/>
          <ac:spMkLst>
            <pc:docMk/>
            <pc:sldMk cId="130700123" sldId="1369"/>
            <ac:spMk id="30" creationId="{E68E64E5-5D4D-974A-8ACB-0FD55DE48396}"/>
          </ac:spMkLst>
        </pc:spChg>
      </pc:sldChg>
      <pc:sldChg chg="addSp delSp modSp mod ord">
        <pc:chgData name="Krishna Sharma" userId="daa697d5-8440-4694-9c7d-792884c08b9c" providerId="ADAL" clId="{C5F3E3DB-464F-4B95-9A21-49385C74D1A0}" dt="2025-06-10T06:55:15.740" v="475"/>
        <pc:sldMkLst>
          <pc:docMk/>
          <pc:sldMk cId="1056810274" sldId="1370"/>
        </pc:sldMkLst>
        <pc:spChg chg="mod">
          <ac:chgData name="Krishna Sharma" userId="daa697d5-8440-4694-9c7d-792884c08b9c" providerId="ADAL" clId="{C5F3E3DB-464F-4B95-9A21-49385C74D1A0}" dt="2025-06-10T06:11:07.479" v="155" actId="1076"/>
          <ac:spMkLst>
            <pc:docMk/>
            <pc:sldMk cId="1056810274" sldId="1370"/>
            <ac:spMk id="4" creationId="{5A14BD05-70B8-5B0C-AD64-B8FA9DC5982B}"/>
          </ac:spMkLst>
        </pc:spChg>
        <pc:spChg chg="mod topLvl">
          <ac:chgData name="Krishna Sharma" userId="daa697d5-8440-4694-9c7d-792884c08b9c" providerId="ADAL" clId="{C5F3E3DB-464F-4B95-9A21-49385C74D1A0}" dt="2025-06-10T06:11:47.944" v="162" actId="165"/>
          <ac:spMkLst>
            <pc:docMk/>
            <pc:sldMk cId="1056810274" sldId="1370"/>
            <ac:spMk id="7" creationId="{BD772977-435C-DEA9-3F0C-C48D7921ED8F}"/>
          </ac:spMkLst>
        </pc:spChg>
        <pc:spChg chg="mod">
          <ac:chgData name="Krishna Sharma" userId="daa697d5-8440-4694-9c7d-792884c08b9c" providerId="ADAL" clId="{C5F3E3DB-464F-4B95-9A21-49385C74D1A0}" dt="2025-06-10T06:11:47.944" v="162" actId="165"/>
          <ac:spMkLst>
            <pc:docMk/>
            <pc:sldMk cId="1056810274" sldId="1370"/>
            <ac:spMk id="10" creationId="{AD561A6D-B103-1EDD-8331-5FB1E814EAA7}"/>
          </ac:spMkLst>
        </pc:spChg>
        <pc:spChg chg="mod">
          <ac:chgData name="Krishna Sharma" userId="daa697d5-8440-4694-9c7d-792884c08b9c" providerId="ADAL" clId="{C5F3E3DB-464F-4B95-9A21-49385C74D1A0}" dt="2025-06-10T06:11:47.944" v="162" actId="165"/>
          <ac:spMkLst>
            <pc:docMk/>
            <pc:sldMk cId="1056810274" sldId="1370"/>
            <ac:spMk id="11" creationId="{A94B7F01-CD2C-3FB9-634F-6E88A43D032E}"/>
          </ac:spMkLst>
        </pc:spChg>
        <pc:spChg chg="mod">
          <ac:chgData name="Krishna Sharma" userId="daa697d5-8440-4694-9c7d-792884c08b9c" providerId="ADAL" clId="{C5F3E3DB-464F-4B95-9A21-49385C74D1A0}" dt="2025-06-10T06:11:47.944" v="162" actId="165"/>
          <ac:spMkLst>
            <pc:docMk/>
            <pc:sldMk cId="1056810274" sldId="1370"/>
            <ac:spMk id="13" creationId="{33D63659-1980-5AFB-2C13-CA2F3E52BC6E}"/>
          </ac:spMkLst>
        </pc:spChg>
        <pc:spChg chg="mod">
          <ac:chgData name="Krishna Sharma" userId="daa697d5-8440-4694-9c7d-792884c08b9c" providerId="ADAL" clId="{C5F3E3DB-464F-4B95-9A21-49385C74D1A0}" dt="2025-06-10T06:11:47.944" v="162" actId="165"/>
          <ac:spMkLst>
            <pc:docMk/>
            <pc:sldMk cId="1056810274" sldId="1370"/>
            <ac:spMk id="14" creationId="{385CA6B3-4DA3-F044-4FE0-E156CA1CBB40}"/>
          </ac:spMkLst>
        </pc:spChg>
        <pc:spChg chg="mod">
          <ac:chgData name="Krishna Sharma" userId="daa697d5-8440-4694-9c7d-792884c08b9c" providerId="ADAL" clId="{C5F3E3DB-464F-4B95-9A21-49385C74D1A0}" dt="2025-06-10T06:11:47.944" v="162" actId="165"/>
          <ac:spMkLst>
            <pc:docMk/>
            <pc:sldMk cId="1056810274" sldId="1370"/>
            <ac:spMk id="16" creationId="{65D4BA44-A1F8-E265-789C-A1B12A78FF7E}"/>
          </ac:spMkLst>
        </pc:spChg>
        <pc:spChg chg="mod">
          <ac:chgData name="Krishna Sharma" userId="daa697d5-8440-4694-9c7d-792884c08b9c" providerId="ADAL" clId="{C5F3E3DB-464F-4B95-9A21-49385C74D1A0}" dt="2025-06-10T06:11:47.944" v="162" actId="165"/>
          <ac:spMkLst>
            <pc:docMk/>
            <pc:sldMk cId="1056810274" sldId="1370"/>
            <ac:spMk id="17" creationId="{F98F0266-68FB-B224-7B83-F5F79F8FAE72}"/>
          </ac:spMkLst>
        </pc:spChg>
        <pc:spChg chg="mod">
          <ac:chgData name="Krishna Sharma" userId="daa697d5-8440-4694-9c7d-792884c08b9c" providerId="ADAL" clId="{C5F3E3DB-464F-4B95-9A21-49385C74D1A0}" dt="2025-06-10T06:11:47.944" v="162" actId="165"/>
          <ac:spMkLst>
            <pc:docMk/>
            <pc:sldMk cId="1056810274" sldId="1370"/>
            <ac:spMk id="20" creationId="{86B531C2-FA08-A59D-08E2-E0D7CF4EEBED}"/>
          </ac:spMkLst>
        </pc:spChg>
        <pc:spChg chg="mod">
          <ac:chgData name="Krishna Sharma" userId="daa697d5-8440-4694-9c7d-792884c08b9c" providerId="ADAL" clId="{C5F3E3DB-464F-4B95-9A21-49385C74D1A0}" dt="2025-06-10T06:11:47.944" v="162" actId="165"/>
          <ac:spMkLst>
            <pc:docMk/>
            <pc:sldMk cId="1056810274" sldId="1370"/>
            <ac:spMk id="22" creationId="{D48D4865-7411-788D-9DDF-7DF989E9C040}"/>
          </ac:spMkLst>
        </pc:spChg>
        <pc:spChg chg="mod">
          <ac:chgData name="Krishna Sharma" userId="daa697d5-8440-4694-9c7d-792884c08b9c" providerId="ADAL" clId="{C5F3E3DB-464F-4B95-9A21-49385C74D1A0}" dt="2025-06-10T06:11:47.944" v="162" actId="165"/>
          <ac:spMkLst>
            <pc:docMk/>
            <pc:sldMk cId="1056810274" sldId="1370"/>
            <ac:spMk id="23" creationId="{521D5F80-AA3B-70B7-98A4-8E0F60DDEA9F}"/>
          </ac:spMkLst>
        </pc:spChg>
        <pc:spChg chg="mod">
          <ac:chgData name="Krishna Sharma" userId="daa697d5-8440-4694-9c7d-792884c08b9c" providerId="ADAL" clId="{C5F3E3DB-464F-4B95-9A21-49385C74D1A0}" dt="2025-06-10T06:55:15.740" v="475"/>
          <ac:spMkLst>
            <pc:docMk/>
            <pc:sldMk cId="1056810274" sldId="1370"/>
            <ac:spMk id="30" creationId="{5C23DD63-EDC9-C717-6300-C56142CA00CF}"/>
          </ac:spMkLst>
        </pc:spChg>
        <pc:grpChg chg="mod">
          <ac:chgData name="Krishna Sharma" userId="daa697d5-8440-4694-9c7d-792884c08b9c" providerId="ADAL" clId="{C5F3E3DB-464F-4B95-9A21-49385C74D1A0}" dt="2025-06-10T06:10:49.056" v="151" actId="164"/>
          <ac:grpSpMkLst>
            <pc:docMk/>
            <pc:sldMk cId="1056810274" sldId="1370"/>
            <ac:grpSpMk id="5" creationId="{65154CC7-4508-FD33-DA27-F7CE28759A6F}"/>
          </ac:grpSpMkLst>
        </pc:grpChg>
        <pc:grpChg chg="mod">
          <ac:chgData name="Krishna Sharma" userId="daa697d5-8440-4694-9c7d-792884c08b9c" providerId="ADAL" clId="{C5F3E3DB-464F-4B95-9A21-49385C74D1A0}" dt="2025-06-10T06:10:49.056" v="151" actId="164"/>
          <ac:grpSpMkLst>
            <pc:docMk/>
            <pc:sldMk cId="1056810274" sldId="1370"/>
            <ac:grpSpMk id="31" creationId="{84C81130-971F-C8CB-9683-E369942C31A6}"/>
          </ac:grpSpMkLst>
        </pc:grpChg>
        <pc:grpChg chg="mod">
          <ac:chgData name="Krishna Sharma" userId="daa697d5-8440-4694-9c7d-792884c08b9c" providerId="ADAL" clId="{C5F3E3DB-464F-4B95-9A21-49385C74D1A0}" dt="2025-06-10T06:10:49.056" v="151" actId="164"/>
          <ac:grpSpMkLst>
            <pc:docMk/>
            <pc:sldMk cId="1056810274" sldId="1370"/>
            <ac:grpSpMk id="32" creationId="{6FA72A44-74E1-545F-4532-5112A817B402}"/>
          </ac:grpSpMkLst>
        </pc:grpChg>
        <pc:grpChg chg="mod">
          <ac:chgData name="Krishna Sharma" userId="daa697d5-8440-4694-9c7d-792884c08b9c" providerId="ADAL" clId="{C5F3E3DB-464F-4B95-9A21-49385C74D1A0}" dt="2025-06-10T06:10:49.056" v="151" actId="164"/>
          <ac:grpSpMkLst>
            <pc:docMk/>
            <pc:sldMk cId="1056810274" sldId="1370"/>
            <ac:grpSpMk id="33" creationId="{CE1949A6-6C9F-D3CB-E6CE-E5B0537C06BE}"/>
          </ac:grpSpMkLst>
        </pc:grpChg>
        <pc:grpChg chg="mod">
          <ac:chgData name="Krishna Sharma" userId="daa697d5-8440-4694-9c7d-792884c08b9c" providerId="ADAL" clId="{C5F3E3DB-464F-4B95-9A21-49385C74D1A0}" dt="2025-06-10T06:10:49.056" v="151" actId="164"/>
          <ac:grpSpMkLst>
            <pc:docMk/>
            <pc:sldMk cId="1056810274" sldId="1370"/>
            <ac:grpSpMk id="34" creationId="{2EC70053-7662-C3B7-42DF-EEF6B374B447}"/>
          </ac:grpSpMkLst>
        </pc:grpChg>
      </pc:sldChg>
      <pc:sldChg chg="modSp ord">
        <pc:chgData name="Krishna Sharma" userId="daa697d5-8440-4694-9c7d-792884c08b9c" providerId="ADAL" clId="{C5F3E3DB-464F-4B95-9A21-49385C74D1A0}" dt="2025-06-10T06:55:21.092" v="476"/>
        <pc:sldMkLst>
          <pc:docMk/>
          <pc:sldMk cId="2865006180" sldId="1371"/>
        </pc:sldMkLst>
        <pc:spChg chg="mod">
          <ac:chgData name="Krishna Sharma" userId="daa697d5-8440-4694-9c7d-792884c08b9c" providerId="ADAL" clId="{C5F3E3DB-464F-4B95-9A21-49385C74D1A0}" dt="2025-06-10T06:55:21.092" v="476"/>
          <ac:spMkLst>
            <pc:docMk/>
            <pc:sldMk cId="2865006180" sldId="1371"/>
            <ac:spMk id="4" creationId="{8F194A7F-8DD7-31D9-277F-130EA7127398}"/>
          </ac:spMkLst>
        </pc:spChg>
      </pc:sldChg>
      <pc:sldChg chg="modSp mod ord">
        <pc:chgData name="Krishna Sharma" userId="daa697d5-8440-4694-9c7d-792884c08b9c" providerId="ADAL" clId="{C5F3E3DB-464F-4B95-9A21-49385C74D1A0}" dt="2025-06-10T07:16:03.155" v="536" actId="20577"/>
        <pc:sldMkLst>
          <pc:docMk/>
          <pc:sldMk cId="2954267522" sldId="1372"/>
        </pc:sldMkLst>
        <pc:spChg chg="mod">
          <ac:chgData name="Krishna Sharma" userId="daa697d5-8440-4694-9c7d-792884c08b9c" providerId="ADAL" clId="{C5F3E3DB-464F-4B95-9A21-49385C74D1A0}" dt="2025-06-10T07:16:03.155" v="536" actId="20577"/>
          <ac:spMkLst>
            <pc:docMk/>
            <pc:sldMk cId="2954267522" sldId="1372"/>
            <ac:spMk id="2" creationId="{BF4C30ED-7105-75F6-C612-1DB6CB19C2CC}"/>
          </ac:spMkLst>
        </pc:spChg>
        <pc:spChg chg="mod">
          <ac:chgData name="Krishna Sharma" userId="daa697d5-8440-4694-9c7d-792884c08b9c" providerId="ADAL" clId="{C5F3E3DB-464F-4B95-9A21-49385C74D1A0}" dt="2025-06-10T06:55:26.725" v="478"/>
          <ac:spMkLst>
            <pc:docMk/>
            <pc:sldMk cId="2954267522" sldId="1372"/>
            <ac:spMk id="18" creationId="{668B06C4-561D-E09B-624B-6361E3D12792}"/>
          </ac:spMkLst>
        </pc:spChg>
      </pc:sldChg>
      <pc:sldChg chg="modSp mod ord">
        <pc:chgData name="Krishna Sharma" userId="daa697d5-8440-4694-9c7d-792884c08b9c" providerId="ADAL" clId="{C5F3E3DB-464F-4B95-9A21-49385C74D1A0}" dt="2025-06-10T07:16:14.215" v="537"/>
        <pc:sldMkLst>
          <pc:docMk/>
          <pc:sldMk cId="2044274387" sldId="1374"/>
        </pc:sldMkLst>
        <pc:spChg chg="mod">
          <ac:chgData name="Krishna Sharma" userId="daa697d5-8440-4694-9c7d-792884c08b9c" providerId="ADAL" clId="{C5F3E3DB-464F-4B95-9A21-49385C74D1A0}" dt="2025-06-10T07:16:14.215" v="537"/>
          <ac:spMkLst>
            <pc:docMk/>
            <pc:sldMk cId="2044274387" sldId="1374"/>
            <ac:spMk id="2" creationId="{117A3D6A-A7F1-2067-4BA3-443F26F558F8}"/>
          </ac:spMkLst>
        </pc:spChg>
        <pc:spChg chg="mod">
          <ac:chgData name="Krishna Sharma" userId="daa697d5-8440-4694-9c7d-792884c08b9c" providerId="ADAL" clId="{C5F3E3DB-464F-4B95-9A21-49385C74D1A0}" dt="2025-06-10T06:55:29.510" v="479"/>
          <ac:spMkLst>
            <pc:docMk/>
            <pc:sldMk cId="2044274387" sldId="1374"/>
            <ac:spMk id="4" creationId="{DD9ED718-DBF7-DCD7-CCE0-2689B9D0D5A1}"/>
          </ac:spMkLst>
        </pc:spChg>
        <pc:spChg chg="mod">
          <ac:chgData name="Krishna Sharma" userId="daa697d5-8440-4694-9c7d-792884c08b9c" providerId="ADAL" clId="{C5F3E3DB-464F-4B95-9A21-49385C74D1A0}" dt="2025-06-10T06:12:35.538" v="167" actId="2711"/>
          <ac:spMkLst>
            <pc:docMk/>
            <pc:sldMk cId="2044274387" sldId="1374"/>
            <ac:spMk id="8" creationId="{54EDCEB9-C0B1-20C0-FBF2-3D912897BDD7}"/>
          </ac:spMkLst>
        </pc:spChg>
        <pc:spChg chg="mod">
          <ac:chgData name="Krishna Sharma" userId="daa697d5-8440-4694-9c7d-792884c08b9c" providerId="ADAL" clId="{C5F3E3DB-464F-4B95-9A21-49385C74D1A0}" dt="2025-06-10T06:12:29.320" v="166" actId="2711"/>
          <ac:spMkLst>
            <pc:docMk/>
            <pc:sldMk cId="2044274387" sldId="1374"/>
            <ac:spMk id="18" creationId="{44CA6FB3-4DE2-2B02-DE83-7C3F0C4375D6}"/>
          </ac:spMkLst>
        </pc:spChg>
        <pc:spChg chg="mod">
          <ac:chgData name="Krishna Sharma" userId="daa697d5-8440-4694-9c7d-792884c08b9c" providerId="ADAL" clId="{C5F3E3DB-464F-4B95-9A21-49385C74D1A0}" dt="2025-06-10T06:12:29.320" v="166" actId="2711"/>
          <ac:spMkLst>
            <pc:docMk/>
            <pc:sldMk cId="2044274387" sldId="1374"/>
            <ac:spMk id="19" creationId="{1EDFD52E-0747-32B5-4FBC-E1416ABE99FA}"/>
          </ac:spMkLst>
        </pc:spChg>
        <pc:spChg chg="mod">
          <ac:chgData name="Krishna Sharma" userId="daa697d5-8440-4694-9c7d-792884c08b9c" providerId="ADAL" clId="{C5F3E3DB-464F-4B95-9A21-49385C74D1A0}" dt="2025-06-10T06:12:29.320" v="166" actId="2711"/>
          <ac:spMkLst>
            <pc:docMk/>
            <pc:sldMk cId="2044274387" sldId="1374"/>
            <ac:spMk id="20" creationId="{2F753252-68FC-ED25-7DE3-5BAD3D7AF838}"/>
          </ac:spMkLst>
        </pc:spChg>
        <pc:spChg chg="mod">
          <ac:chgData name="Krishna Sharma" userId="daa697d5-8440-4694-9c7d-792884c08b9c" providerId="ADAL" clId="{C5F3E3DB-464F-4B95-9A21-49385C74D1A0}" dt="2025-06-10T06:12:29.320" v="166" actId="2711"/>
          <ac:spMkLst>
            <pc:docMk/>
            <pc:sldMk cId="2044274387" sldId="1374"/>
            <ac:spMk id="21" creationId="{48E718C4-9472-AFAD-AF90-BBD001B092EE}"/>
          </ac:spMkLst>
        </pc:spChg>
        <pc:spChg chg="mod">
          <ac:chgData name="Krishna Sharma" userId="daa697d5-8440-4694-9c7d-792884c08b9c" providerId="ADAL" clId="{C5F3E3DB-464F-4B95-9A21-49385C74D1A0}" dt="2025-06-10T06:12:29.320" v="166" actId="2711"/>
          <ac:spMkLst>
            <pc:docMk/>
            <pc:sldMk cId="2044274387" sldId="1374"/>
            <ac:spMk id="22" creationId="{7D7D4B5C-655C-FF9A-BEB1-FABA9633A30C}"/>
          </ac:spMkLst>
        </pc:spChg>
        <pc:spChg chg="mod">
          <ac:chgData name="Krishna Sharma" userId="daa697d5-8440-4694-9c7d-792884c08b9c" providerId="ADAL" clId="{C5F3E3DB-464F-4B95-9A21-49385C74D1A0}" dt="2025-06-10T06:12:29.320" v="166" actId="2711"/>
          <ac:spMkLst>
            <pc:docMk/>
            <pc:sldMk cId="2044274387" sldId="1374"/>
            <ac:spMk id="23" creationId="{FE06691F-2160-99ED-D700-9764C28AD3C5}"/>
          </ac:spMkLst>
        </pc:spChg>
        <pc:spChg chg="mod">
          <ac:chgData name="Krishna Sharma" userId="daa697d5-8440-4694-9c7d-792884c08b9c" providerId="ADAL" clId="{C5F3E3DB-464F-4B95-9A21-49385C74D1A0}" dt="2025-06-10T06:12:29.320" v="166" actId="2711"/>
          <ac:spMkLst>
            <pc:docMk/>
            <pc:sldMk cId="2044274387" sldId="1374"/>
            <ac:spMk id="24" creationId="{86424882-C103-81BD-BC47-64272B6727CC}"/>
          </ac:spMkLst>
        </pc:spChg>
        <pc:spChg chg="mod">
          <ac:chgData name="Krishna Sharma" userId="daa697d5-8440-4694-9c7d-792884c08b9c" providerId="ADAL" clId="{C5F3E3DB-464F-4B95-9A21-49385C74D1A0}" dt="2025-06-10T06:12:29.320" v="166" actId="2711"/>
          <ac:spMkLst>
            <pc:docMk/>
            <pc:sldMk cId="2044274387" sldId="1374"/>
            <ac:spMk id="26" creationId="{B4C3A667-1A21-F1C1-B3E0-BD25CB0618C5}"/>
          </ac:spMkLst>
        </pc:spChg>
        <pc:spChg chg="mod">
          <ac:chgData name="Krishna Sharma" userId="daa697d5-8440-4694-9c7d-792884c08b9c" providerId="ADAL" clId="{C5F3E3DB-464F-4B95-9A21-49385C74D1A0}" dt="2025-06-10T06:12:29.320" v="166" actId="2711"/>
          <ac:spMkLst>
            <pc:docMk/>
            <pc:sldMk cId="2044274387" sldId="1374"/>
            <ac:spMk id="28" creationId="{5BD486E1-513F-0236-7E59-57F351A9E295}"/>
          </ac:spMkLst>
        </pc:spChg>
        <pc:spChg chg="mod">
          <ac:chgData name="Krishna Sharma" userId="daa697d5-8440-4694-9c7d-792884c08b9c" providerId="ADAL" clId="{C5F3E3DB-464F-4B95-9A21-49385C74D1A0}" dt="2025-06-10T06:12:29.320" v="166" actId="2711"/>
          <ac:spMkLst>
            <pc:docMk/>
            <pc:sldMk cId="2044274387" sldId="1374"/>
            <ac:spMk id="29" creationId="{4CAD5E68-8804-8124-E0C3-378B0D31BD7D}"/>
          </ac:spMkLst>
        </pc:spChg>
      </pc:sldChg>
      <pc:sldChg chg="modSp ord">
        <pc:chgData name="Krishna Sharma" userId="daa697d5-8440-4694-9c7d-792884c08b9c" providerId="ADAL" clId="{C5F3E3DB-464F-4B95-9A21-49385C74D1A0}" dt="2025-06-10T06:55:32.820" v="480"/>
        <pc:sldMkLst>
          <pc:docMk/>
          <pc:sldMk cId="2149197380" sldId="1376"/>
        </pc:sldMkLst>
      </pc:sldChg>
      <pc:sldChg chg="modSp ord">
        <pc:chgData name="Krishna Sharma" userId="daa697d5-8440-4694-9c7d-792884c08b9c" providerId="ADAL" clId="{C5F3E3DB-464F-4B95-9A21-49385C74D1A0}" dt="2025-06-10T06:55:35.864" v="481"/>
        <pc:sldMkLst>
          <pc:docMk/>
          <pc:sldMk cId="2153920532" sldId="1377"/>
        </pc:sldMkLst>
      </pc:sldChg>
      <pc:sldChg chg="modSp ord">
        <pc:chgData name="Krishna Sharma" userId="daa697d5-8440-4694-9c7d-792884c08b9c" providerId="ADAL" clId="{C5F3E3DB-464F-4B95-9A21-49385C74D1A0}" dt="2025-06-10T06:55:39.646" v="482"/>
        <pc:sldMkLst>
          <pc:docMk/>
          <pc:sldMk cId="4103397409" sldId="1378"/>
        </pc:sldMkLst>
      </pc:sldChg>
      <pc:sldChg chg="modSp ord">
        <pc:chgData name="Krishna Sharma" userId="daa697d5-8440-4694-9c7d-792884c08b9c" providerId="ADAL" clId="{C5F3E3DB-464F-4B95-9A21-49385C74D1A0}" dt="2025-06-10T06:55:43.129" v="483"/>
        <pc:sldMkLst>
          <pc:docMk/>
          <pc:sldMk cId="4134873201" sldId="1380"/>
        </pc:sldMkLst>
      </pc:sldChg>
      <pc:sldChg chg="modSp mod ord">
        <pc:chgData name="Krishna Sharma" userId="daa697d5-8440-4694-9c7d-792884c08b9c" providerId="ADAL" clId="{C5F3E3DB-464F-4B95-9A21-49385C74D1A0}" dt="2025-06-10T08:57:02.131" v="846" actId="1076"/>
        <pc:sldMkLst>
          <pc:docMk/>
          <pc:sldMk cId="2287264940" sldId="1381"/>
        </pc:sldMkLst>
      </pc:sldChg>
      <pc:sldChg chg="modSp ord">
        <pc:chgData name="Krishna Sharma" userId="daa697d5-8440-4694-9c7d-792884c08b9c" providerId="ADAL" clId="{C5F3E3DB-464F-4B95-9A21-49385C74D1A0}" dt="2025-06-10T06:55:48.236" v="485"/>
        <pc:sldMkLst>
          <pc:docMk/>
          <pc:sldMk cId="2246927992" sldId="1383"/>
        </pc:sldMkLst>
      </pc:sldChg>
      <pc:sldChg chg="modSp mod ord">
        <pc:chgData name="Krishna Sharma" userId="daa697d5-8440-4694-9c7d-792884c08b9c" providerId="ADAL" clId="{C5F3E3DB-464F-4B95-9A21-49385C74D1A0}" dt="2025-06-10T08:57:25.305" v="847" actId="1076"/>
        <pc:sldMkLst>
          <pc:docMk/>
          <pc:sldMk cId="3937025842" sldId="1385"/>
        </pc:sldMkLst>
      </pc:sldChg>
      <pc:sldChg chg="modSp ord">
        <pc:chgData name="Krishna Sharma" userId="daa697d5-8440-4694-9c7d-792884c08b9c" providerId="ADAL" clId="{C5F3E3DB-464F-4B95-9A21-49385C74D1A0}" dt="2025-06-10T06:55:53.139" v="487"/>
        <pc:sldMkLst>
          <pc:docMk/>
          <pc:sldMk cId="4137854167" sldId="1386"/>
        </pc:sldMkLst>
      </pc:sldChg>
      <pc:sldChg chg="modSp mod ord">
        <pc:chgData name="Krishna Sharma" userId="daa697d5-8440-4694-9c7d-792884c08b9c" providerId="ADAL" clId="{C5F3E3DB-464F-4B95-9A21-49385C74D1A0}" dt="2025-06-10T07:17:00.676" v="549" actId="1036"/>
        <pc:sldMkLst>
          <pc:docMk/>
          <pc:sldMk cId="18798766" sldId="1388"/>
        </pc:sldMkLst>
      </pc:sldChg>
      <pc:sldChg chg="modSp mod ord">
        <pc:chgData name="Krishna Sharma" userId="daa697d5-8440-4694-9c7d-792884c08b9c" providerId="ADAL" clId="{C5F3E3DB-464F-4B95-9A21-49385C74D1A0}" dt="2025-06-10T08:57:52.051" v="850" actId="1076"/>
        <pc:sldMkLst>
          <pc:docMk/>
          <pc:sldMk cId="3450120803" sldId="1389"/>
        </pc:sldMkLst>
      </pc:sldChg>
      <pc:sldChg chg="del">
        <pc:chgData name="Krishna Sharma" userId="daa697d5-8440-4694-9c7d-792884c08b9c" providerId="ADAL" clId="{C5F3E3DB-464F-4B95-9A21-49385C74D1A0}" dt="2025-06-10T07:35:27.009" v="806" actId="47"/>
        <pc:sldMkLst>
          <pc:docMk/>
          <pc:sldMk cId="187365164" sldId="1391"/>
        </pc:sldMkLst>
      </pc:sldChg>
      <pc:sldChg chg="modSp mod ord">
        <pc:chgData name="Krishna Sharma" userId="daa697d5-8440-4694-9c7d-792884c08b9c" providerId="ADAL" clId="{C5F3E3DB-464F-4B95-9A21-49385C74D1A0}" dt="2025-06-10T07:18:40.824" v="621" actId="1036"/>
        <pc:sldMkLst>
          <pc:docMk/>
          <pc:sldMk cId="2578419182" sldId="1392"/>
        </pc:sldMkLst>
      </pc:sldChg>
      <pc:sldChg chg="modSp mod ord">
        <pc:chgData name="Krishna Sharma" userId="daa697d5-8440-4694-9c7d-792884c08b9c" providerId="ADAL" clId="{C5F3E3DB-464F-4B95-9A21-49385C74D1A0}" dt="2025-06-10T07:19:16.682" v="661" actId="1036"/>
        <pc:sldMkLst>
          <pc:docMk/>
          <pc:sldMk cId="2056974111" sldId="1393"/>
        </pc:sldMkLst>
      </pc:sldChg>
      <pc:sldChg chg="modSp del mod ord">
        <pc:chgData name="Krishna Sharma" userId="daa697d5-8440-4694-9c7d-792884c08b9c" providerId="ADAL" clId="{C5F3E3DB-464F-4B95-9A21-49385C74D1A0}" dt="2025-06-10T09:03:25.169" v="927" actId="47"/>
        <pc:sldMkLst>
          <pc:docMk/>
          <pc:sldMk cId="4080636583" sldId="1394"/>
        </pc:sldMkLst>
      </pc:sldChg>
      <pc:sldChg chg="modSp mod ord">
        <pc:chgData name="Krishna Sharma" userId="daa697d5-8440-4694-9c7d-792884c08b9c" providerId="ADAL" clId="{C5F3E3DB-464F-4B95-9A21-49385C74D1A0}" dt="2025-06-10T07:20:18.308" v="687" actId="1036"/>
        <pc:sldMkLst>
          <pc:docMk/>
          <pc:sldMk cId="2155299973" sldId="1396"/>
        </pc:sldMkLst>
      </pc:sldChg>
      <pc:sldChg chg="modSp mod ord">
        <pc:chgData name="Krishna Sharma" userId="daa697d5-8440-4694-9c7d-792884c08b9c" providerId="ADAL" clId="{C5F3E3DB-464F-4B95-9A21-49385C74D1A0}" dt="2025-06-10T07:20:37.102" v="696" actId="1036"/>
        <pc:sldMkLst>
          <pc:docMk/>
          <pc:sldMk cId="3897331874" sldId="1397"/>
        </pc:sldMkLst>
        <pc:spChg chg="mod">
          <ac:chgData name="Krishna Sharma" userId="daa697d5-8440-4694-9c7d-792884c08b9c" providerId="ADAL" clId="{C5F3E3DB-464F-4B95-9A21-49385C74D1A0}" dt="2025-06-10T07:20:37.102" v="696" actId="1036"/>
          <ac:spMkLst>
            <pc:docMk/>
            <pc:sldMk cId="3897331874" sldId="1397"/>
            <ac:spMk id="2" creationId="{3B8B9189-3176-BDC2-3AE9-727DE99AA123}"/>
          </ac:spMkLst>
        </pc:spChg>
        <pc:spChg chg="mod">
          <ac:chgData name="Krishna Sharma" userId="daa697d5-8440-4694-9c7d-792884c08b9c" providerId="ADAL" clId="{C5F3E3DB-464F-4B95-9A21-49385C74D1A0}" dt="2025-06-10T06:56:20.436" v="494"/>
          <ac:spMkLst>
            <pc:docMk/>
            <pc:sldMk cId="3897331874" sldId="1397"/>
            <ac:spMk id="4" creationId="{768DB4C6-FB35-88D4-8415-5095E6FCBD52}"/>
          </ac:spMkLst>
        </pc:spChg>
      </pc:sldChg>
      <pc:sldChg chg="delSp modSp mod ord">
        <pc:chgData name="Krishna Sharma" userId="daa697d5-8440-4694-9c7d-792884c08b9c" providerId="ADAL" clId="{C5F3E3DB-464F-4B95-9A21-49385C74D1A0}" dt="2025-06-10T09:15:10.272" v="992" actId="1076"/>
        <pc:sldMkLst>
          <pc:docMk/>
          <pc:sldMk cId="1126234879" sldId="1398"/>
        </pc:sldMkLst>
        <pc:spChg chg="mod">
          <ac:chgData name="Krishna Sharma" userId="daa697d5-8440-4694-9c7d-792884c08b9c" providerId="ADAL" clId="{C5F3E3DB-464F-4B95-9A21-49385C74D1A0}" dt="2025-06-10T07:20:52.527" v="700" actId="14100"/>
          <ac:spMkLst>
            <pc:docMk/>
            <pc:sldMk cId="1126234879" sldId="1398"/>
            <ac:spMk id="2" creationId="{8B674E54-2643-B5E4-5462-E0DB9575B258}"/>
          </ac:spMkLst>
        </pc:spChg>
        <pc:spChg chg="mod">
          <ac:chgData name="Krishna Sharma" userId="daa697d5-8440-4694-9c7d-792884c08b9c" providerId="ADAL" clId="{C5F3E3DB-464F-4B95-9A21-49385C74D1A0}" dt="2025-06-10T09:15:10.272" v="992" actId="1076"/>
          <ac:spMkLst>
            <pc:docMk/>
            <pc:sldMk cId="1126234879" sldId="1398"/>
            <ac:spMk id="3" creationId="{97CE4107-28C5-08A2-F7D1-1EA8EF7AB929}"/>
          </ac:spMkLst>
        </pc:spChg>
        <pc:spChg chg="mod">
          <ac:chgData name="Krishna Sharma" userId="daa697d5-8440-4694-9c7d-792884c08b9c" providerId="ADAL" clId="{C5F3E3DB-464F-4B95-9A21-49385C74D1A0}" dt="2025-06-10T09:15:10.272" v="992" actId="1076"/>
          <ac:spMkLst>
            <pc:docMk/>
            <pc:sldMk cId="1126234879" sldId="1398"/>
            <ac:spMk id="4" creationId="{E265B48E-5D61-85E2-AC24-3B81496F467A}"/>
          </ac:spMkLst>
        </pc:spChg>
        <pc:spChg chg="mod">
          <ac:chgData name="Krishna Sharma" userId="daa697d5-8440-4694-9c7d-792884c08b9c" providerId="ADAL" clId="{C5F3E3DB-464F-4B95-9A21-49385C74D1A0}" dt="2025-06-10T09:15:10.272" v="992" actId="1076"/>
          <ac:spMkLst>
            <pc:docMk/>
            <pc:sldMk cId="1126234879" sldId="1398"/>
            <ac:spMk id="6" creationId="{3ACB2792-DBCC-C358-E4AB-208DFE7983B6}"/>
          </ac:spMkLst>
        </pc:spChg>
        <pc:spChg chg="mod">
          <ac:chgData name="Krishna Sharma" userId="daa697d5-8440-4694-9c7d-792884c08b9c" providerId="ADAL" clId="{C5F3E3DB-464F-4B95-9A21-49385C74D1A0}" dt="2025-06-10T09:15:10.272" v="992" actId="1076"/>
          <ac:spMkLst>
            <pc:docMk/>
            <pc:sldMk cId="1126234879" sldId="1398"/>
            <ac:spMk id="9" creationId="{39FFD4B0-A394-061A-B963-CD764046BEEC}"/>
          </ac:spMkLst>
        </pc:spChg>
        <pc:spChg chg="mod">
          <ac:chgData name="Krishna Sharma" userId="daa697d5-8440-4694-9c7d-792884c08b9c" providerId="ADAL" clId="{C5F3E3DB-464F-4B95-9A21-49385C74D1A0}" dt="2025-06-10T06:56:22.870" v="495"/>
          <ac:spMkLst>
            <pc:docMk/>
            <pc:sldMk cId="1126234879" sldId="1398"/>
            <ac:spMk id="25" creationId="{A3F47B49-60BC-B3EC-18D5-AD3616B92DD3}"/>
          </ac:spMkLst>
        </pc:spChg>
      </pc:sldChg>
      <pc:sldChg chg="modSp mod ord">
        <pc:chgData name="Krishna Sharma" userId="daa697d5-8440-4694-9c7d-792884c08b9c" providerId="ADAL" clId="{C5F3E3DB-464F-4B95-9A21-49385C74D1A0}" dt="2025-06-10T09:35:39.603" v="1174" actId="404"/>
        <pc:sldMkLst>
          <pc:docMk/>
          <pc:sldMk cId="1609862685" sldId="1400"/>
        </pc:sldMkLst>
        <pc:spChg chg="mod">
          <ac:chgData name="Krishna Sharma" userId="daa697d5-8440-4694-9c7d-792884c08b9c" providerId="ADAL" clId="{C5F3E3DB-464F-4B95-9A21-49385C74D1A0}" dt="2025-06-10T07:21:10.519" v="704" actId="14100"/>
          <ac:spMkLst>
            <pc:docMk/>
            <pc:sldMk cId="1609862685" sldId="1400"/>
            <ac:spMk id="2" creationId="{42272A1B-B6A1-BB1F-EFC6-4DE789298790}"/>
          </ac:spMkLst>
        </pc:spChg>
        <pc:spChg chg="mod">
          <ac:chgData name="Krishna Sharma" userId="daa697d5-8440-4694-9c7d-792884c08b9c" providerId="ADAL" clId="{C5F3E3DB-464F-4B95-9A21-49385C74D1A0}" dt="2025-06-10T06:56:25.051" v="496"/>
          <ac:spMkLst>
            <pc:docMk/>
            <pc:sldMk cId="1609862685" sldId="1400"/>
            <ac:spMk id="4" creationId="{FD082AB7-24C1-51C9-4464-8CA120082E99}"/>
          </ac:spMkLst>
        </pc:spChg>
        <pc:spChg chg="mod">
          <ac:chgData name="Krishna Sharma" userId="daa697d5-8440-4694-9c7d-792884c08b9c" providerId="ADAL" clId="{C5F3E3DB-464F-4B95-9A21-49385C74D1A0}" dt="2025-06-10T09:35:39.603" v="1174" actId="404"/>
          <ac:spMkLst>
            <pc:docMk/>
            <pc:sldMk cId="1609862685" sldId="1400"/>
            <ac:spMk id="24" creationId="{725363E4-B741-42F9-F5B4-3DAE1EAB0D3B}"/>
          </ac:spMkLst>
        </pc:spChg>
      </pc:sldChg>
      <pc:sldChg chg="modSp mod ord">
        <pc:chgData name="Krishna Sharma" userId="daa697d5-8440-4694-9c7d-792884c08b9c" providerId="ADAL" clId="{C5F3E3DB-464F-4B95-9A21-49385C74D1A0}" dt="2025-06-10T09:33:42.092" v="1163" actId="2711"/>
        <pc:sldMkLst>
          <pc:docMk/>
          <pc:sldMk cId="1514397412" sldId="1401"/>
        </pc:sldMkLst>
        <pc:spChg chg="mod">
          <ac:chgData name="Krishna Sharma" userId="daa697d5-8440-4694-9c7d-792884c08b9c" providerId="ADAL" clId="{C5F3E3DB-464F-4B95-9A21-49385C74D1A0}" dt="2025-06-10T09:33:09.869" v="1162" actId="2711"/>
          <ac:spMkLst>
            <pc:docMk/>
            <pc:sldMk cId="1514397412" sldId="1401"/>
            <ac:spMk id="2" creationId="{E826995E-5A4D-9E78-1E21-02FCB2C1754C}"/>
          </ac:spMkLst>
        </pc:spChg>
        <pc:spChg chg="mod">
          <ac:chgData name="Krishna Sharma" userId="daa697d5-8440-4694-9c7d-792884c08b9c" providerId="ADAL" clId="{C5F3E3DB-464F-4B95-9A21-49385C74D1A0}" dt="2025-06-10T09:33:09.869" v="1162" actId="2711"/>
          <ac:spMkLst>
            <pc:docMk/>
            <pc:sldMk cId="1514397412" sldId="1401"/>
            <ac:spMk id="4" creationId="{3D4C7ECF-D3D1-069F-B2E5-6B2BFFC3504E}"/>
          </ac:spMkLst>
        </pc:spChg>
        <pc:spChg chg="mod">
          <ac:chgData name="Krishna Sharma" userId="daa697d5-8440-4694-9c7d-792884c08b9c" providerId="ADAL" clId="{C5F3E3DB-464F-4B95-9A21-49385C74D1A0}" dt="2025-06-10T09:33:09.869" v="1162" actId="2711"/>
          <ac:spMkLst>
            <pc:docMk/>
            <pc:sldMk cId="1514397412" sldId="1401"/>
            <ac:spMk id="6" creationId="{3A05A312-B941-5067-F79C-A1528CBE2BEE}"/>
          </ac:spMkLst>
        </pc:spChg>
        <pc:spChg chg="mod">
          <ac:chgData name="Krishna Sharma" userId="daa697d5-8440-4694-9c7d-792884c08b9c" providerId="ADAL" clId="{C5F3E3DB-464F-4B95-9A21-49385C74D1A0}" dt="2025-06-10T09:33:42.092" v="1163" actId="2711"/>
          <ac:spMkLst>
            <pc:docMk/>
            <pc:sldMk cId="1514397412" sldId="1401"/>
            <ac:spMk id="7" creationId="{6184B2C6-26FA-D4D7-555C-21D394ABC1ED}"/>
          </ac:spMkLst>
        </pc:spChg>
        <pc:spChg chg="mod">
          <ac:chgData name="Krishna Sharma" userId="daa697d5-8440-4694-9c7d-792884c08b9c" providerId="ADAL" clId="{C5F3E3DB-464F-4B95-9A21-49385C74D1A0}" dt="2025-06-10T09:33:42.092" v="1163" actId="2711"/>
          <ac:spMkLst>
            <pc:docMk/>
            <pc:sldMk cId="1514397412" sldId="1401"/>
            <ac:spMk id="8" creationId="{770C1EFD-8681-1D50-C597-082E171F8959}"/>
          </ac:spMkLst>
        </pc:spChg>
        <pc:spChg chg="mod">
          <ac:chgData name="Krishna Sharma" userId="daa697d5-8440-4694-9c7d-792884c08b9c" providerId="ADAL" clId="{C5F3E3DB-464F-4B95-9A21-49385C74D1A0}" dt="2025-06-10T09:33:09.869" v="1162" actId="2711"/>
          <ac:spMkLst>
            <pc:docMk/>
            <pc:sldMk cId="1514397412" sldId="1401"/>
            <ac:spMk id="9" creationId="{D696AA28-4218-DC57-4C99-F8911B8372C5}"/>
          </ac:spMkLst>
        </pc:spChg>
        <pc:spChg chg="mod">
          <ac:chgData name="Krishna Sharma" userId="daa697d5-8440-4694-9c7d-792884c08b9c" providerId="ADAL" clId="{C5F3E3DB-464F-4B95-9A21-49385C74D1A0}" dt="2025-06-10T09:33:42.092" v="1163" actId="2711"/>
          <ac:spMkLst>
            <pc:docMk/>
            <pc:sldMk cId="1514397412" sldId="1401"/>
            <ac:spMk id="11" creationId="{04D03ABC-F0B9-50D5-D302-8226963A5085}"/>
          </ac:spMkLst>
        </pc:spChg>
        <pc:spChg chg="mod">
          <ac:chgData name="Krishna Sharma" userId="daa697d5-8440-4694-9c7d-792884c08b9c" providerId="ADAL" clId="{C5F3E3DB-464F-4B95-9A21-49385C74D1A0}" dt="2025-06-10T09:20:21.594" v="1063" actId="14100"/>
          <ac:spMkLst>
            <pc:docMk/>
            <pc:sldMk cId="1514397412" sldId="1401"/>
            <ac:spMk id="16" creationId="{48225623-D3B3-E13B-AF60-F2600A2EA41E}"/>
          </ac:spMkLst>
        </pc:spChg>
        <pc:spChg chg="mod">
          <ac:chgData name="Krishna Sharma" userId="daa697d5-8440-4694-9c7d-792884c08b9c" providerId="ADAL" clId="{C5F3E3DB-464F-4B95-9A21-49385C74D1A0}" dt="2025-06-10T09:20:14.720" v="1061" actId="1076"/>
          <ac:spMkLst>
            <pc:docMk/>
            <pc:sldMk cId="1514397412" sldId="1401"/>
            <ac:spMk id="17" creationId="{4453A128-744C-AEDD-170A-56E40C6DDF91}"/>
          </ac:spMkLst>
        </pc:spChg>
        <pc:spChg chg="mod">
          <ac:chgData name="Krishna Sharma" userId="daa697d5-8440-4694-9c7d-792884c08b9c" providerId="ADAL" clId="{C5F3E3DB-464F-4B95-9A21-49385C74D1A0}" dt="2025-06-10T09:33:42.092" v="1163" actId="2711"/>
          <ac:spMkLst>
            <pc:docMk/>
            <pc:sldMk cId="1514397412" sldId="1401"/>
            <ac:spMk id="18" creationId="{7D329FBE-361C-0D1A-7E5B-4BE0511C6C4D}"/>
          </ac:spMkLst>
        </pc:spChg>
        <pc:spChg chg="mod">
          <ac:chgData name="Krishna Sharma" userId="daa697d5-8440-4694-9c7d-792884c08b9c" providerId="ADAL" clId="{C5F3E3DB-464F-4B95-9A21-49385C74D1A0}" dt="2025-06-10T09:33:42.092" v="1163" actId="2711"/>
          <ac:spMkLst>
            <pc:docMk/>
            <pc:sldMk cId="1514397412" sldId="1401"/>
            <ac:spMk id="19" creationId="{9D13222B-527F-983F-0D58-3B8765989D55}"/>
          </ac:spMkLst>
        </pc:spChg>
        <pc:spChg chg="mod">
          <ac:chgData name="Krishna Sharma" userId="daa697d5-8440-4694-9c7d-792884c08b9c" providerId="ADAL" clId="{C5F3E3DB-464F-4B95-9A21-49385C74D1A0}" dt="2025-06-10T09:20:14.720" v="1061" actId="1076"/>
          <ac:spMkLst>
            <pc:docMk/>
            <pc:sldMk cId="1514397412" sldId="1401"/>
            <ac:spMk id="20" creationId="{17EA191E-7FF9-AB90-5A15-C4D9188264F2}"/>
          </ac:spMkLst>
        </pc:spChg>
        <pc:spChg chg="mod">
          <ac:chgData name="Krishna Sharma" userId="daa697d5-8440-4694-9c7d-792884c08b9c" providerId="ADAL" clId="{C5F3E3DB-464F-4B95-9A21-49385C74D1A0}" dt="2025-06-10T09:33:42.092" v="1163" actId="2711"/>
          <ac:spMkLst>
            <pc:docMk/>
            <pc:sldMk cId="1514397412" sldId="1401"/>
            <ac:spMk id="22" creationId="{99331468-730A-2E0F-1ECC-21C086B38101}"/>
          </ac:spMkLst>
        </pc:spChg>
        <pc:spChg chg="mod">
          <ac:chgData name="Krishna Sharma" userId="daa697d5-8440-4694-9c7d-792884c08b9c" providerId="ADAL" clId="{C5F3E3DB-464F-4B95-9A21-49385C74D1A0}" dt="2025-06-10T09:33:09.869" v="1162" actId="2711"/>
          <ac:spMkLst>
            <pc:docMk/>
            <pc:sldMk cId="1514397412" sldId="1401"/>
            <ac:spMk id="25" creationId="{2094F2B0-C36B-90E9-F5F9-2A5E1E25B379}"/>
          </ac:spMkLst>
        </pc:spChg>
        <pc:spChg chg="mod">
          <ac:chgData name="Krishna Sharma" userId="daa697d5-8440-4694-9c7d-792884c08b9c" providerId="ADAL" clId="{C5F3E3DB-464F-4B95-9A21-49385C74D1A0}" dt="2025-06-10T09:33:09.869" v="1162" actId="2711"/>
          <ac:spMkLst>
            <pc:docMk/>
            <pc:sldMk cId="1514397412" sldId="1401"/>
            <ac:spMk id="47" creationId="{EC62F6FB-268F-A5B3-CE8C-CCEFA7FFE32A}"/>
          </ac:spMkLst>
        </pc:spChg>
      </pc:sldChg>
      <pc:sldChg chg="delSp modSp mod ord">
        <pc:chgData name="Krishna Sharma" userId="daa697d5-8440-4694-9c7d-792884c08b9c" providerId="ADAL" clId="{C5F3E3DB-464F-4B95-9A21-49385C74D1A0}" dt="2025-06-10T09:34:28.737" v="1170" actId="113"/>
        <pc:sldMkLst>
          <pc:docMk/>
          <pc:sldMk cId="2910876098" sldId="1402"/>
        </pc:sldMkLst>
        <pc:spChg chg="mod">
          <ac:chgData name="Krishna Sharma" userId="daa697d5-8440-4694-9c7d-792884c08b9c" providerId="ADAL" clId="{C5F3E3DB-464F-4B95-9A21-49385C74D1A0}" dt="2025-06-10T09:34:28.737" v="1170" actId="113"/>
          <ac:spMkLst>
            <pc:docMk/>
            <pc:sldMk cId="2910876098" sldId="1402"/>
            <ac:spMk id="2" creationId="{6CBC9E13-0E5A-F73F-C39B-CE8C65E97F1F}"/>
          </ac:spMkLst>
        </pc:spChg>
        <pc:spChg chg="mod">
          <ac:chgData name="Krishna Sharma" userId="daa697d5-8440-4694-9c7d-792884c08b9c" providerId="ADAL" clId="{C5F3E3DB-464F-4B95-9A21-49385C74D1A0}" dt="2025-06-10T06:56:29.351" v="498"/>
          <ac:spMkLst>
            <pc:docMk/>
            <pc:sldMk cId="2910876098" sldId="1402"/>
            <ac:spMk id="4" creationId="{3DFA8A1F-983D-0A20-9D55-3CB9B45A512A}"/>
          </ac:spMkLst>
        </pc:spChg>
        <pc:spChg chg="mod">
          <ac:chgData name="Krishna Sharma" userId="daa697d5-8440-4694-9c7d-792884c08b9c" providerId="ADAL" clId="{C5F3E3DB-464F-4B95-9A21-49385C74D1A0}" dt="2025-06-10T09:34:11.007" v="1166" actId="2711"/>
          <ac:spMkLst>
            <pc:docMk/>
            <pc:sldMk cId="2910876098" sldId="1402"/>
            <ac:spMk id="24" creationId="{BA3150A2-EDD0-102A-AC0B-FE7FF740332F}"/>
          </ac:spMkLst>
        </pc:spChg>
        <pc:spChg chg="mod">
          <ac:chgData name="Krishna Sharma" userId="daa697d5-8440-4694-9c7d-792884c08b9c" providerId="ADAL" clId="{C5F3E3DB-464F-4B95-9A21-49385C74D1A0}" dt="2025-06-10T09:34:11.007" v="1166" actId="2711"/>
          <ac:spMkLst>
            <pc:docMk/>
            <pc:sldMk cId="2910876098" sldId="1402"/>
            <ac:spMk id="25" creationId="{59421FCD-6A80-818C-F858-2A661D4118E4}"/>
          </ac:spMkLst>
        </pc:spChg>
        <pc:spChg chg="mod">
          <ac:chgData name="Krishna Sharma" userId="daa697d5-8440-4694-9c7d-792884c08b9c" providerId="ADAL" clId="{C5F3E3DB-464F-4B95-9A21-49385C74D1A0}" dt="2025-06-10T09:34:11.007" v="1166" actId="2711"/>
          <ac:spMkLst>
            <pc:docMk/>
            <pc:sldMk cId="2910876098" sldId="1402"/>
            <ac:spMk id="26" creationId="{4BA73D4B-52CB-6D6E-B4B4-228065C1637D}"/>
          </ac:spMkLst>
        </pc:spChg>
        <pc:spChg chg="mod">
          <ac:chgData name="Krishna Sharma" userId="daa697d5-8440-4694-9c7d-792884c08b9c" providerId="ADAL" clId="{C5F3E3DB-464F-4B95-9A21-49385C74D1A0}" dt="2025-06-10T09:34:11.007" v="1166" actId="2711"/>
          <ac:spMkLst>
            <pc:docMk/>
            <pc:sldMk cId="2910876098" sldId="1402"/>
            <ac:spMk id="27" creationId="{0ED27D50-DC7A-FF9F-DFAF-DB282255223F}"/>
          </ac:spMkLst>
        </pc:spChg>
        <pc:spChg chg="mod">
          <ac:chgData name="Krishna Sharma" userId="daa697d5-8440-4694-9c7d-792884c08b9c" providerId="ADAL" clId="{C5F3E3DB-464F-4B95-9A21-49385C74D1A0}" dt="2025-06-10T09:34:11.007" v="1166" actId="2711"/>
          <ac:spMkLst>
            <pc:docMk/>
            <pc:sldMk cId="2910876098" sldId="1402"/>
            <ac:spMk id="47" creationId="{726ED83E-B0D7-2190-AEF4-7C1FD3023603}"/>
          </ac:spMkLst>
        </pc:spChg>
        <pc:spChg chg="mod">
          <ac:chgData name="Krishna Sharma" userId="daa697d5-8440-4694-9c7d-792884c08b9c" providerId="ADAL" clId="{C5F3E3DB-464F-4B95-9A21-49385C74D1A0}" dt="2025-06-10T09:34:21.800" v="1169" actId="113"/>
          <ac:spMkLst>
            <pc:docMk/>
            <pc:sldMk cId="2910876098" sldId="1402"/>
            <ac:spMk id="52" creationId="{D88C12B6-19E3-B9F7-C6AC-68B518676271}"/>
          </ac:spMkLst>
        </pc:spChg>
      </pc:sldChg>
      <pc:sldChg chg="addSp delSp modSp mod ord">
        <pc:chgData name="Krishna Sharma" userId="daa697d5-8440-4694-9c7d-792884c08b9c" providerId="ADAL" clId="{C5F3E3DB-464F-4B95-9A21-49385C74D1A0}" dt="2025-06-10T09:34:53.996" v="1172" actId="2711"/>
        <pc:sldMkLst>
          <pc:docMk/>
          <pc:sldMk cId="1359705919" sldId="1404"/>
        </pc:sldMkLst>
        <pc:spChg chg="mod">
          <ac:chgData name="Krishna Sharma" userId="daa697d5-8440-4694-9c7d-792884c08b9c" providerId="ADAL" clId="{C5F3E3DB-464F-4B95-9A21-49385C74D1A0}" dt="2025-06-10T09:28:35.175" v="1139" actId="20577"/>
          <ac:spMkLst>
            <pc:docMk/>
            <pc:sldMk cId="1359705919" sldId="1404"/>
            <ac:spMk id="2" creationId="{DB440015-968F-8907-C2C5-45283DCE0EDB}"/>
          </ac:spMkLst>
        </pc:spChg>
        <pc:spChg chg="mod">
          <ac:chgData name="Krishna Sharma" userId="daa697d5-8440-4694-9c7d-792884c08b9c" providerId="ADAL" clId="{C5F3E3DB-464F-4B95-9A21-49385C74D1A0}" dt="2025-06-10T09:34:53.996" v="1172" actId="2711"/>
          <ac:spMkLst>
            <pc:docMk/>
            <pc:sldMk cId="1359705919" sldId="1404"/>
            <ac:spMk id="3" creationId="{E773CE22-F5C5-BC43-9DB0-6EF7DCE6362C}"/>
          </ac:spMkLst>
        </pc:spChg>
        <pc:spChg chg="mod">
          <ac:chgData name="Krishna Sharma" userId="daa697d5-8440-4694-9c7d-792884c08b9c" providerId="ADAL" clId="{C5F3E3DB-464F-4B95-9A21-49385C74D1A0}" dt="2025-06-10T09:34:53.996" v="1172" actId="2711"/>
          <ac:spMkLst>
            <pc:docMk/>
            <pc:sldMk cId="1359705919" sldId="1404"/>
            <ac:spMk id="7" creationId="{1C160070-EDF1-4491-4A07-EF9BA510B73F}"/>
          </ac:spMkLst>
        </pc:spChg>
        <pc:spChg chg="mod">
          <ac:chgData name="Krishna Sharma" userId="daa697d5-8440-4694-9c7d-792884c08b9c" providerId="ADAL" clId="{C5F3E3DB-464F-4B95-9A21-49385C74D1A0}" dt="2025-06-10T09:30:56.507" v="1153" actId="1076"/>
          <ac:spMkLst>
            <pc:docMk/>
            <pc:sldMk cId="1359705919" sldId="1404"/>
            <ac:spMk id="45" creationId="{05D38DF9-9FD4-002B-37FA-EB8C95C3F79D}"/>
          </ac:spMkLst>
        </pc:spChg>
        <pc:picChg chg="add mod">
          <ac:chgData name="Krishna Sharma" userId="daa697d5-8440-4694-9c7d-792884c08b9c" providerId="ADAL" clId="{C5F3E3DB-464F-4B95-9A21-49385C74D1A0}" dt="2025-06-10T09:31:02.872" v="1155" actId="1076"/>
          <ac:picMkLst>
            <pc:docMk/>
            <pc:sldMk cId="1359705919" sldId="1404"/>
            <ac:picMk id="5" creationId="{39CF3514-489E-A450-A033-F6092F5BBF9D}"/>
          </ac:picMkLst>
        </pc:picChg>
      </pc:sldChg>
      <pc:sldChg chg="modSp mod ord">
        <pc:chgData name="Krishna Sharma" userId="daa697d5-8440-4694-9c7d-792884c08b9c" providerId="ADAL" clId="{C5F3E3DB-464F-4B95-9A21-49385C74D1A0}" dt="2025-06-10T09:21:28.676" v="1068" actId="1076"/>
        <pc:sldMkLst>
          <pc:docMk/>
          <pc:sldMk cId="1618323921" sldId="1405"/>
        </pc:sldMkLst>
        <pc:spChg chg="mod">
          <ac:chgData name="Krishna Sharma" userId="daa697d5-8440-4694-9c7d-792884c08b9c" providerId="ADAL" clId="{C5F3E3DB-464F-4B95-9A21-49385C74D1A0}" dt="2025-06-10T07:22:16.123" v="724" actId="14100"/>
          <ac:spMkLst>
            <pc:docMk/>
            <pc:sldMk cId="1618323921" sldId="1405"/>
            <ac:spMk id="2" creationId="{F24936F1-EC21-3F58-1A5D-707883051E55}"/>
          </ac:spMkLst>
        </pc:spChg>
        <pc:spChg chg="mod">
          <ac:chgData name="Krishna Sharma" userId="daa697d5-8440-4694-9c7d-792884c08b9c" providerId="ADAL" clId="{C5F3E3DB-464F-4B95-9A21-49385C74D1A0}" dt="2025-06-10T06:56:35.048" v="501"/>
          <ac:spMkLst>
            <pc:docMk/>
            <pc:sldMk cId="1618323921" sldId="1405"/>
            <ac:spMk id="4" creationId="{F20F8102-BC1E-A66F-69DE-AC65BEE105FB}"/>
          </ac:spMkLst>
        </pc:spChg>
        <pc:spChg chg="mod">
          <ac:chgData name="Krishna Sharma" userId="daa697d5-8440-4694-9c7d-792884c08b9c" providerId="ADAL" clId="{C5F3E3DB-464F-4B95-9A21-49385C74D1A0}" dt="2025-06-10T09:21:28.676" v="1068" actId="1076"/>
          <ac:spMkLst>
            <pc:docMk/>
            <pc:sldMk cId="1618323921" sldId="1405"/>
            <ac:spMk id="46" creationId="{F318A3A0-77E2-C509-3550-36B84968A26E}"/>
          </ac:spMkLst>
        </pc:spChg>
        <pc:spChg chg="mod">
          <ac:chgData name="Krishna Sharma" userId="daa697d5-8440-4694-9c7d-792884c08b9c" providerId="ADAL" clId="{C5F3E3DB-464F-4B95-9A21-49385C74D1A0}" dt="2025-06-10T09:21:28.676" v="1068" actId="1076"/>
          <ac:spMkLst>
            <pc:docMk/>
            <pc:sldMk cId="1618323921" sldId="1405"/>
            <ac:spMk id="48" creationId="{6E7922E8-7DD1-A113-97C6-1D7147EB486C}"/>
          </ac:spMkLst>
        </pc:spChg>
        <pc:spChg chg="mod">
          <ac:chgData name="Krishna Sharma" userId="daa697d5-8440-4694-9c7d-792884c08b9c" providerId="ADAL" clId="{C5F3E3DB-464F-4B95-9A21-49385C74D1A0}" dt="2025-06-10T09:21:28.676" v="1068" actId="1076"/>
          <ac:spMkLst>
            <pc:docMk/>
            <pc:sldMk cId="1618323921" sldId="1405"/>
            <ac:spMk id="49" creationId="{87FB7AE1-6425-958F-81BA-8C8F6071A6A7}"/>
          </ac:spMkLst>
        </pc:spChg>
        <pc:spChg chg="mod">
          <ac:chgData name="Krishna Sharma" userId="daa697d5-8440-4694-9c7d-792884c08b9c" providerId="ADAL" clId="{C5F3E3DB-464F-4B95-9A21-49385C74D1A0}" dt="2025-06-10T09:21:28.676" v="1068" actId="1076"/>
          <ac:spMkLst>
            <pc:docMk/>
            <pc:sldMk cId="1618323921" sldId="1405"/>
            <ac:spMk id="52" creationId="{0EB26578-A341-54F1-E20B-75172BD5A65B}"/>
          </ac:spMkLst>
        </pc:spChg>
        <pc:spChg chg="mod">
          <ac:chgData name="Krishna Sharma" userId="daa697d5-8440-4694-9c7d-792884c08b9c" providerId="ADAL" clId="{C5F3E3DB-464F-4B95-9A21-49385C74D1A0}" dt="2025-06-10T09:21:28.676" v="1068" actId="1076"/>
          <ac:spMkLst>
            <pc:docMk/>
            <pc:sldMk cId="1618323921" sldId="1405"/>
            <ac:spMk id="53" creationId="{6494268B-02B7-2880-9188-399D0A99FF6E}"/>
          </ac:spMkLst>
        </pc:spChg>
        <pc:spChg chg="mod">
          <ac:chgData name="Krishna Sharma" userId="daa697d5-8440-4694-9c7d-792884c08b9c" providerId="ADAL" clId="{C5F3E3DB-464F-4B95-9A21-49385C74D1A0}" dt="2025-06-10T09:21:28.676" v="1068" actId="1076"/>
          <ac:spMkLst>
            <pc:docMk/>
            <pc:sldMk cId="1618323921" sldId="1405"/>
            <ac:spMk id="55" creationId="{4A122708-E8A8-6662-183E-121CC580BA4E}"/>
          </ac:spMkLst>
        </pc:spChg>
        <pc:spChg chg="mod">
          <ac:chgData name="Krishna Sharma" userId="daa697d5-8440-4694-9c7d-792884c08b9c" providerId="ADAL" clId="{C5F3E3DB-464F-4B95-9A21-49385C74D1A0}" dt="2025-06-10T09:21:28.676" v="1068" actId="1076"/>
          <ac:spMkLst>
            <pc:docMk/>
            <pc:sldMk cId="1618323921" sldId="1405"/>
            <ac:spMk id="56" creationId="{59248990-0983-19BF-4BFC-D813678FE47A}"/>
          </ac:spMkLst>
        </pc:spChg>
        <pc:spChg chg="mod">
          <ac:chgData name="Krishna Sharma" userId="daa697d5-8440-4694-9c7d-792884c08b9c" providerId="ADAL" clId="{C5F3E3DB-464F-4B95-9A21-49385C74D1A0}" dt="2025-06-10T09:21:28.676" v="1068" actId="1076"/>
          <ac:spMkLst>
            <pc:docMk/>
            <pc:sldMk cId="1618323921" sldId="1405"/>
            <ac:spMk id="58" creationId="{62C4F3B9-ED4B-23BA-E22F-230542EED3E3}"/>
          </ac:spMkLst>
        </pc:spChg>
        <pc:spChg chg="mod">
          <ac:chgData name="Krishna Sharma" userId="daa697d5-8440-4694-9c7d-792884c08b9c" providerId="ADAL" clId="{C5F3E3DB-464F-4B95-9A21-49385C74D1A0}" dt="2025-06-10T09:21:28.676" v="1068" actId="1076"/>
          <ac:spMkLst>
            <pc:docMk/>
            <pc:sldMk cId="1618323921" sldId="1405"/>
            <ac:spMk id="59" creationId="{EA59B924-245E-32D2-B5E0-E2566C98AF24}"/>
          </ac:spMkLst>
        </pc:spChg>
      </pc:sldChg>
      <pc:sldChg chg="modSp mod ord">
        <pc:chgData name="Krishna Sharma" userId="daa697d5-8440-4694-9c7d-792884c08b9c" providerId="ADAL" clId="{C5F3E3DB-464F-4B95-9A21-49385C74D1A0}" dt="2025-06-10T09:23:02.865" v="1126" actId="1036"/>
        <pc:sldMkLst>
          <pc:docMk/>
          <pc:sldMk cId="767093200" sldId="1406"/>
        </pc:sldMkLst>
        <pc:spChg chg="mod">
          <ac:chgData name="Krishna Sharma" userId="daa697d5-8440-4694-9c7d-792884c08b9c" providerId="ADAL" clId="{C5F3E3DB-464F-4B95-9A21-49385C74D1A0}" dt="2025-06-10T07:22:24.936" v="727" actId="14100"/>
          <ac:spMkLst>
            <pc:docMk/>
            <pc:sldMk cId="767093200" sldId="1406"/>
            <ac:spMk id="2" creationId="{DCC6F8AA-515A-0107-2587-3680FE510DA2}"/>
          </ac:spMkLst>
        </pc:spChg>
        <pc:spChg chg="mod">
          <ac:chgData name="Krishna Sharma" userId="daa697d5-8440-4694-9c7d-792884c08b9c" providerId="ADAL" clId="{C5F3E3DB-464F-4B95-9A21-49385C74D1A0}" dt="2025-06-10T09:22:05.204" v="1071" actId="14100"/>
          <ac:spMkLst>
            <pc:docMk/>
            <pc:sldMk cId="767093200" sldId="1406"/>
            <ac:spMk id="3" creationId="{76BFB7DC-8B74-47AD-0063-FC6A7F5FBF89}"/>
          </ac:spMkLst>
        </pc:spChg>
        <pc:spChg chg="mod">
          <ac:chgData name="Krishna Sharma" userId="daa697d5-8440-4694-9c7d-792884c08b9c" providerId="ADAL" clId="{C5F3E3DB-464F-4B95-9A21-49385C74D1A0}" dt="2025-06-10T09:21:56.297" v="1070" actId="1076"/>
          <ac:spMkLst>
            <pc:docMk/>
            <pc:sldMk cId="767093200" sldId="1406"/>
            <ac:spMk id="4" creationId="{AB5A6340-3E8C-7AB4-8E24-319C96FD9EBB}"/>
          </ac:spMkLst>
        </pc:spChg>
        <pc:spChg chg="mod">
          <ac:chgData name="Krishna Sharma" userId="daa697d5-8440-4694-9c7d-792884c08b9c" providerId="ADAL" clId="{C5F3E3DB-464F-4B95-9A21-49385C74D1A0}" dt="2025-06-10T09:22:47.978" v="1113" actId="1035"/>
          <ac:spMkLst>
            <pc:docMk/>
            <pc:sldMk cId="767093200" sldId="1406"/>
            <ac:spMk id="7" creationId="{7D05CF39-147B-B89E-B821-C8605F9C298B}"/>
          </ac:spMkLst>
        </pc:spChg>
        <pc:spChg chg="mod">
          <ac:chgData name="Krishna Sharma" userId="daa697d5-8440-4694-9c7d-792884c08b9c" providerId="ADAL" clId="{C5F3E3DB-464F-4B95-9A21-49385C74D1A0}" dt="2025-06-10T09:23:02.865" v="1126" actId="1036"/>
          <ac:spMkLst>
            <pc:docMk/>
            <pc:sldMk cId="767093200" sldId="1406"/>
            <ac:spMk id="8" creationId="{DA9D6749-8980-B90D-0A9C-0B22CB2D0AFD}"/>
          </ac:spMkLst>
        </pc:spChg>
        <pc:spChg chg="mod">
          <ac:chgData name="Krishna Sharma" userId="daa697d5-8440-4694-9c7d-792884c08b9c" providerId="ADAL" clId="{C5F3E3DB-464F-4B95-9A21-49385C74D1A0}" dt="2025-06-10T09:23:02.865" v="1126" actId="1036"/>
          <ac:spMkLst>
            <pc:docMk/>
            <pc:sldMk cId="767093200" sldId="1406"/>
            <ac:spMk id="10" creationId="{18B2C4D6-10A8-8CBA-0668-24A72CF8A4EA}"/>
          </ac:spMkLst>
        </pc:spChg>
        <pc:spChg chg="mod">
          <ac:chgData name="Krishna Sharma" userId="daa697d5-8440-4694-9c7d-792884c08b9c" providerId="ADAL" clId="{C5F3E3DB-464F-4B95-9A21-49385C74D1A0}" dt="2025-06-10T09:23:02.865" v="1126" actId="1036"/>
          <ac:spMkLst>
            <pc:docMk/>
            <pc:sldMk cId="767093200" sldId="1406"/>
            <ac:spMk id="11" creationId="{17FD6D6A-32B5-6D3F-7F1B-661D659A2332}"/>
          </ac:spMkLst>
        </pc:spChg>
        <pc:spChg chg="mod">
          <ac:chgData name="Krishna Sharma" userId="daa697d5-8440-4694-9c7d-792884c08b9c" providerId="ADAL" clId="{C5F3E3DB-464F-4B95-9A21-49385C74D1A0}" dt="2025-06-10T09:23:02.865" v="1126" actId="1036"/>
          <ac:spMkLst>
            <pc:docMk/>
            <pc:sldMk cId="767093200" sldId="1406"/>
            <ac:spMk id="13" creationId="{54256C06-76AB-99DB-23C8-1673B56A1B13}"/>
          </ac:spMkLst>
        </pc:spChg>
        <pc:spChg chg="mod">
          <ac:chgData name="Krishna Sharma" userId="daa697d5-8440-4694-9c7d-792884c08b9c" providerId="ADAL" clId="{C5F3E3DB-464F-4B95-9A21-49385C74D1A0}" dt="2025-06-10T09:23:02.865" v="1126" actId="1036"/>
          <ac:spMkLst>
            <pc:docMk/>
            <pc:sldMk cId="767093200" sldId="1406"/>
            <ac:spMk id="14" creationId="{7CC4F909-B328-F1EB-2667-1CC0AD1A637A}"/>
          </ac:spMkLst>
        </pc:spChg>
        <pc:spChg chg="mod">
          <ac:chgData name="Krishna Sharma" userId="daa697d5-8440-4694-9c7d-792884c08b9c" providerId="ADAL" clId="{C5F3E3DB-464F-4B95-9A21-49385C74D1A0}" dt="2025-06-10T09:23:02.865" v="1126" actId="1036"/>
          <ac:spMkLst>
            <pc:docMk/>
            <pc:sldMk cId="767093200" sldId="1406"/>
            <ac:spMk id="16" creationId="{2B68722F-8ECC-B75F-9B8D-8C7702B6FECC}"/>
          </ac:spMkLst>
        </pc:spChg>
        <pc:spChg chg="mod">
          <ac:chgData name="Krishna Sharma" userId="daa697d5-8440-4694-9c7d-792884c08b9c" providerId="ADAL" clId="{C5F3E3DB-464F-4B95-9A21-49385C74D1A0}" dt="2025-06-10T09:23:02.865" v="1126" actId="1036"/>
          <ac:spMkLst>
            <pc:docMk/>
            <pc:sldMk cId="767093200" sldId="1406"/>
            <ac:spMk id="17" creationId="{2DCEBCD8-1526-3ED3-E82A-26AFB5B5D5D6}"/>
          </ac:spMkLst>
        </pc:spChg>
        <pc:spChg chg="mod">
          <ac:chgData name="Krishna Sharma" userId="daa697d5-8440-4694-9c7d-792884c08b9c" providerId="ADAL" clId="{C5F3E3DB-464F-4B95-9A21-49385C74D1A0}" dt="2025-06-10T06:56:37.118" v="502"/>
          <ac:spMkLst>
            <pc:docMk/>
            <pc:sldMk cId="767093200" sldId="1406"/>
            <ac:spMk id="25" creationId="{14ADF6E2-E2D0-3F04-A78F-BAA4128C19D5}"/>
          </ac:spMkLst>
        </pc:spChg>
      </pc:sldChg>
      <pc:sldChg chg="modSp mod ord">
        <pc:chgData name="Krishna Sharma" userId="daa697d5-8440-4694-9c7d-792884c08b9c" providerId="ADAL" clId="{C5F3E3DB-464F-4B95-9A21-49385C74D1A0}" dt="2025-06-10T09:32:22.418" v="1160" actId="2711"/>
        <pc:sldMkLst>
          <pc:docMk/>
          <pc:sldMk cId="4031355153" sldId="1407"/>
        </pc:sldMkLst>
        <pc:spChg chg="mod">
          <ac:chgData name="Krishna Sharma" userId="daa697d5-8440-4694-9c7d-792884c08b9c" providerId="ADAL" clId="{C5F3E3DB-464F-4B95-9A21-49385C74D1A0}" dt="2025-06-10T09:32:22.418" v="1160" actId="2711"/>
          <ac:spMkLst>
            <pc:docMk/>
            <pc:sldMk cId="4031355153" sldId="1407"/>
            <ac:spMk id="2" creationId="{401E0793-1959-FBD3-0004-B39291841520}"/>
          </ac:spMkLst>
        </pc:spChg>
        <pc:spChg chg="mod">
          <ac:chgData name="Krishna Sharma" userId="daa697d5-8440-4694-9c7d-792884c08b9c" providerId="ADAL" clId="{C5F3E3DB-464F-4B95-9A21-49385C74D1A0}" dt="2025-06-10T09:32:22.418" v="1160" actId="2711"/>
          <ac:spMkLst>
            <pc:docMk/>
            <pc:sldMk cId="4031355153" sldId="1407"/>
            <ac:spMk id="3" creationId="{81AF9228-77BA-D49A-02D2-03C88905DD7F}"/>
          </ac:spMkLst>
        </pc:spChg>
        <pc:spChg chg="mod">
          <ac:chgData name="Krishna Sharma" userId="daa697d5-8440-4694-9c7d-792884c08b9c" providerId="ADAL" clId="{C5F3E3DB-464F-4B95-9A21-49385C74D1A0}" dt="2025-06-10T06:56:33.232" v="500"/>
          <ac:spMkLst>
            <pc:docMk/>
            <pc:sldMk cId="4031355153" sldId="1407"/>
            <ac:spMk id="4" creationId="{D14397EC-EC1C-6A50-F4D0-03CF8A72FE05}"/>
          </ac:spMkLst>
        </pc:spChg>
        <pc:spChg chg="mod">
          <ac:chgData name="Krishna Sharma" userId="daa697d5-8440-4694-9c7d-792884c08b9c" providerId="ADAL" clId="{C5F3E3DB-464F-4B95-9A21-49385C74D1A0}" dt="2025-06-10T09:21:09.099" v="1066" actId="14100"/>
          <ac:spMkLst>
            <pc:docMk/>
            <pc:sldMk cId="4031355153" sldId="1407"/>
            <ac:spMk id="7" creationId="{C9270055-A479-BB12-C076-3ED1775D8CE6}"/>
          </ac:spMkLst>
        </pc:spChg>
        <pc:spChg chg="mod">
          <ac:chgData name="Krishna Sharma" userId="daa697d5-8440-4694-9c7d-792884c08b9c" providerId="ADAL" clId="{C5F3E3DB-464F-4B95-9A21-49385C74D1A0}" dt="2025-06-10T09:32:22.418" v="1160" actId="2711"/>
          <ac:spMkLst>
            <pc:docMk/>
            <pc:sldMk cId="4031355153" sldId="1407"/>
            <ac:spMk id="12" creationId="{54C38008-8C8C-5EF6-FF4E-60CCB59844AE}"/>
          </ac:spMkLst>
        </pc:spChg>
        <pc:spChg chg="mod">
          <ac:chgData name="Krishna Sharma" userId="daa697d5-8440-4694-9c7d-792884c08b9c" providerId="ADAL" clId="{C5F3E3DB-464F-4B95-9A21-49385C74D1A0}" dt="2025-06-10T09:32:22.418" v="1160" actId="2711"/>
          <ac:spMkLst>
            <pc:docMk/>
            <pc:sldMk cId="4031355153" sldId="1407"/>
            <ac:spMk id="15" creationId="{88CC4477-9CB7-1C86-A317-A794A031ABA5}"/>
          </ac:spMkLst>
        </pc:spChg>
        <pc:spChg chg="mod">
          <ac:chgData name="Krishna Sharma" userId="daa697d5-8440-4694-9c7d-792884c08b9c" providerId="ADAL" clId="{C5F3E3DB-464F-4B95-9A21-49385C74D1A0}" dt="2025-06-10T09:32:22.418" v="1160" actId="2711"/>
          <ac:spMkLst>
            <pc:docMk/>
            <pc:sldMk cId="4031355153" sldId="1407"/>
            <ac:spMk id="16" creationId="{3BF03EF1-7B18-8011-DEF6-B40E5EDC4448}"/>
          </ac:spMkLst>
        </pc:spChg>
        <pc:spChg chg="mod">
          <ac:chgData name="Krishna Sharma" userId="daa697d5-8440-4694-9c7d-792884c08b9c" providerId="ADAL" clId="{C5F3E3DB-464F-4B95-9A21-49385C74D1A0}" dt="2025-06-10T09:32:22.418" v="1160" actId="2711"/>
          <ac:spMkLst>
            <pc:docMk/>
            <pc:sldMk cId="4031355153" sldId="1407"/>
            <ac:spMk id="18" creationId="{491F3F00-3CA3-2B04-F333-F8D165F26D49}"/>
          </ac:spMkLst>
        </pc:spChg>
        <pc:spChg chg="mod">
          <ac:chgData name="Krishna Sharma" userId="daa697d5-8440-4694-9c7d-792884c08b9c" providerId="ADAL" clId="{C5F3E3DB-464F-4B95-9A21-49385C74D1A0}" dt="2025-06-10T09:32:22.418" v="1160" actId="2711"/>
          <ac:spMkLst>
            <pc:docMk/>
            <pc:sldMk cId="4031355153" sldId="1407"/>
            <ac:spMk id="22" creationId="{0A1AACD9-EA29-8AA4-D464-62DA16BF307A}"/>
          </ac:spMkLst>
        </pc:spChg>
        <pc:spChg chg="mod">
          <ac:chgData name="Krishna Sharma" userId="daa697d5-8440-4694-9c7d-792884c08b9c" providerId="ADAL" clId="{C5F3E3DB-464F-4B95-9A21-49385C74D1A0}" dt="2025-06-10T09:32:22.418" v="1160" actId="2711"/>
          <ac:spMkLst>
            <pc:docMk/>
            <pc:sldMk cId="4031355153" sldId="1407"/>
            <ac:spMk id="38" creationId="{928C2546-7BBA-E10E-A713-37B3BA312798}"/>
          </ac:spMkLst>
        </pc:spChg>
        <pc:spChg chg="mod">
          <ac:chgData name="Krishna Sharma" userId="daa697d5-8440-4694-9c7d-792884c08b9c" providerId="ADAL" clId="{C5F3E3DB-464F-4B95-9A21-49385C74D1A0}" dt="2025-06-10T09:32:22.418" v="1160" actId="2711"/>
          <ac:spMkLst>
            <pc:docMk/>
            <pc:sldMk cId="4031355153" sldId="1407"/>
            <ac:spMk id="40" creationId="{1C121322-5260-23E9-A456-FFD42133322D}"/>
          </ac:spMkLst>
        </pc:spChg>
      </pc:sldChg>
      <pc:sldChg chg="modSp mod ord">
        <pc:chgData name="Krishna Sharma" userId="daa697d5-8440-4694-9c7d-792884c08b9c" providerId="ADAL" clId="{C5F3E3DB-464F-4B95-9A21-49385C74D1A0}" dt="2025-06-10T07:22:35.697" v="730" actId="14100"/>
        <pc:sldMkLst>
          <pc:docMk/>
          <pc:sldMk cId="1180124282" sldId="1409"/>
        </pc:sldMkLst>
        <pc:spChg chg="mod">
          <ac:chgData name="Krishna Sharma" userId="daa697d5-8440-4694-9c7d-792884c08b9c" providerId="ADAL" clId="{C5F3E3DB-464F-4B95-9A21-49385C74D1A0}" dt="2025-06-10T07:22:35.697" v="730" actId="14100"/>
          <ac:spMkLst>
            <pc:docMk/>
            <pc:sldMk cId="1180124282" sldId="1409"/>
            <ac:spMk id="2" creationId="{C6242FA0-BE29-FE65-E745-3629ADD2EB53}"/>
          </ac:spMkLst>
        </pc:spChg>
        <pc:spChg chg="mod">
          <ac:chgData name="Krishna Sharma" userId="daa697d5-8440-4694-9c7d-792884c08b9c" providerId="ADAL" clId="{C5F3E3DB-464F-4B95-9A21-49385C74D1A0}" dt="2025-06-10T06:56:39.969" v="503"/>
          <ac:spMkLst>
            <pc:docMk/>
            <pc:sldMk cId="1180124282" sldId="1409"/>
            <ac:spMk id="53" creationId="{4723AA82-8B8D-947F-8D4A-3277BDE61E26}"/>
          </ac:spMkLst>
        </pc:spChg>
      </pc:sldChg>
      <pc:sldChg chg="modSp mod ord">
        <pc:chgData name="Krishna Sharma" userId="daa697d5-8440-4694-9c7d-792884c08b9c" providerId="ADAL" clId="{C5F3E3DB-464F-4B95-9A21-49385C74D1A0}" dt="2025-06-10T07:22:45.178" v="733" actId="14100"/>
        <pc:sldMkLst>
          <pc:docMk/>
          <pc:sldMk cId="490945690" sldId="1410"/>
        </pc:sldMkLst>
        <pc:spChg chg="mod">
          <ac:chgData name="Krishna Sharma" userId="daa697d5-8440-4694-9c7d-792884c08b9c" providerId="ADAL" clId="{C5F3E3DB-464F-4B95-9A21-49385C74D1A0}" dt="2025-06-10T07:22:45.178" v="733" actId="14100"/>
          <ac:spMkLst>
            <pc:docMk/>
            <pc:sldMk cId="490945690" sldId="1410"/>
            <ac:spMk id="2" creationId="{38FDE182-3ECC-EAD5-F690-E2277832A8EC}"/>
          </ac:spMkLst>
        </pc:spChg>
        <pc:spChg chg="mod">
          <ac:chgData name="Krishna Sharma" userId="daa697d5-8440-4694-9c7d-792884c08b9c" providerId="ADAL" clId="{C5F3E3DB-464F-4B95-9A21-49385C74D1A0}" dt="2025-06-10T06:56:44.989" v="504"/>
          <ac:spMkLst>
            <pc:docMk/>
            <pc:sldMk cId="490945690" sldId="1410"/>
            <ac:spMk id="61" creationId="{C1E435EA-91DF-A7B0-9F69-50DE5F11ACB0}"/>
          </ac:spMkLst>
        </pc:spChg>
      </pc:sldChg>
      <pc:sldChg chg="modSp del mod ord modShow">
        <pc:chgData name="Krishna Sharma" userId="daa697d5-8440-4694-9c7d-792884c08b9c" providerId="ADAL" clId="{C5F3E3DB-464F-4B95-9A21-49385C74D1A0}" dt="2025-06-10T07:24:35.604" v="742" actId="47"/>
        <pc:sldMkLst>
          <pc:docMk/>
          <pc:sldMk cId="1863390849" sldId="1412"/>
        </pc:sldMkLst>
      </pc:sldChg>
      <pc:sldChg chg="modSp del mod ord modShow">
        <pc:chgData name="Krishna Sharma" userId="daa697d5-8440-4694-9c7d-792884c08b9c" providerId="ADAL" clId="{C5F3E3DB-464F-4B95-9A21-49385C74D1A0}" dt="2025-06-10T07:24:36.812" v="743" actId="47"/>
        <pc:sldMkLst>
          <pc:docMk/>
          <pc:sldMk cId="2300823761" sldId="1413"/>
        </pc:sldMkLst>
      </pc:sldChg>
      <pc:sldChg chg="del">
        <pc:chgData name="Krishna Sharma" userId="daa697d5-8440-4694-9c7d-792884c08b9c" providerId="ADAL" clId="{C5F3E3DB-464F-4B95-9A21-49385C74D1A0}" dt="2025-06-10T07:35:27.009" v="806" actId="47"/>
        <pc:sldMkLst>
          <pc:docMk/>
          <pc:sldMk cId="3851108273" sldId="1414"/>
        </pc:sldMkLst>
      </pc:sldChg>
      <pc:sldChg chg="addSp delSp modSp mod ord">
        <pc:chgData name="Krishna Sharma" userId="daa697d5-8440-4694-9c7d-792884c08b9c" providerId="ADAL" clId="{C5F3E3DB-464F-4B95-9A21-49385C74D1A0}" dt="2025-06-10T06:30:01.902" v="266" actId="1076"/>
        <pc:sldMkLst>
          <pc:docMk/>
          <pc:sldMk cId="2193362245" sldId="1416"/>
        </pc:sldMkLst>
        <pc:spChg chg="mod">
          <ac:chgData name="Krishna Sharma" userId="daa697d5-8440-4694-9c7d-792884c08b9c" providerId="ADAL" clId="{C5F3E3DB-464F-4B95-9A21-49385C74D1A0}" dt="2025-06-10T06:30:01.902" v="266" actId="1076"/>
          <ac:spMkLst>
            <pc:docMk/>
            <pc:sldMk cId="2193362245" sldId="1416"/>
            <ac:spMk id="2" creationId="{88041176-FB15-E118-2D3E-8E9C27728BF1}"/>
          </ac:spMkLst>
        </pc:spChg>
        <pc:spChg chg="mod">
          <ac:chgData name="Krishna Sharma" userId="daa697d5-8440-4694-9c7d-792884c08b9c" providerId="ADAL" clId="{C5F3E3DB-464F-4B95-9A21-49385C74D1A0}" dt="2025-06-10T06:29:26.091" v="261" actId="403"/>
          <ac:spMkLst>
            <pc:docMk/>
            <pc:sldMk cId="2193362245" sldId="1416"/>
            <ac:spMk id="3" creationId="{CCEBAD04-D06F-B711-F177-EBA083953F7B}"/>
          </ac:spMkLst>
        </pc:spChg>
        <pc:spChg chg="mod">
          <ac:chgData name="Krishna Sharma" userId="daa697d5-8440-4694-9c7d-792884c08b9c" providerId="ADAL" clId="{C5F3E3DB-464F-4B95-9A21-49385C74D1A0}" dt="2025-06-10T06:29:23.127" v="260" actId="1076"/>
          <ac:spMkLst>
            <pc:docMk/>
            <pc:sldMk cId="2193362245" sldId="1416"/>
            <ac:spMk id="4" creationId="{591F94A8-B937-FBD7-BF02-E751971A67D7}"/>
          </ac:spMkLst>
        </pc:spChg>
        <pc:spChg chg="add mod">
          <ac:chgData name="Krishna Sharma" userId="daa697d5-8440-4694-9c7d-792884c08b9c" providerId="ADAL" clId="{C5F3E3DB-464F-4B95-9A21-49385C74D1A0}" dt="2025-06-10T06:29:50.137" v="262" actId="1076"/>
          <ac:spMkLst>
            <pc:docMk/>
            <pc:sldMk cId="2193362245" sldId="1416"/>
            <ac:spMk id="25" creationId="{BE307DF5-CED8-5D4C-AD30-81FDC8691E78}"/>
          </ac:spMkLst>
        </pc:spChg>
        <pc:picChg chg="add mod">
          <ac:chgData name="Krishna Sharma" userId="daa697d5-8440-4694-9c7d-792884c08b9c" providerId="ADAL" clId="{C5F3E3DB-464F-4B95-9A21-49385C74D1A0}" dt="2025-06-10T06:29:10.572" v="258" actId="1076"/>
          <ac:picMkLst>
            <pc:docMk/>
            <pc:sldMk cId="2193362245" sldId="1416"/>
            <ac:picMk id="28" creationId="{80121C31-19EA-A2B2-8BA6-EFE9FCB2273D}"/>
          </ac:picMkLst>
        </pc:picChg>
      </pc:sldChg>
      <pc:sldChg chg="modSp mod ord">
        <pc:chgData name="Krishna Sharma" userId="daa697d5-8440-4694-9c7d-792884c08b9c" providerId="ADAL" clId="{C5F3E3DB-464F-4B95-9A21-49385C74D1A0}" dt="2025-06-10T06:17:50.952" v="184" actId="20577"/>
        <pc:sldMkLst>
          <pc:docMk/>
          <pc:sldMk cId="2472576754" sldId="1418"/>
        </pc:sldMkLst>
        <pc:spChg chg="mod">
          <ac:chgData name="Krishna Sharma" userId="daa697d5-8440-4694-9c7d-792884c08b9c" providerId="ADAL" clId="{C5F3E3DB-464F-4B95-9A21-49385C74D1A0}" dt="2025-06-10T06:17:50.952" v="184" actId="20577"/>
          <ac:spMkLst>
            <pc:docMk/>
            <pc:sldMk cId="2472576754" sldId="1418"/>
            <ac:spMk id="9" creationId="{FD33DE69-955A-C22D-8A13-3C2A18A40D21}"/>
          </ac:spMkLst>
        </pc:spChg>
      </pc:sldChg>
      <pc:sldChg chg="modSp mod ord">
        <pc:chgData name="Krishna Sharma" userId="daa697d5-8440-4694-9c7d-792884c08b9c" providerId="ADAL" clId="{C5F3E3DB-464F-4B95-9A21-49385C74D1A0}" dt="2025-06-10T09:24:36.131" v="1137" actId="1035"/>
        <pc:sldMkLst>
          <pc:docMk/>
          <pc:sldMk cId="699312704" sldId="1419"/>
        </pc:sldMkLst>
        <pc:spChg chg="mod">
          <ac:chgData name="Krishna Sharma" userId="daa697d5-8440-4694-9c7d-792884c08b9c" providerId="ADAL" clId="{C5F3E3DB-464F-4B95-9A21-49385C74D1A0}" dt="2025-06-10T06:30:28.843" v="276" actId="14100"/>
          <ac:spMkLst>
            <pc:docMk/>
            <pc:sldMk cId="699312704" sldId="1419"/>
            <ac:spMk id="2" creationId="{39EE241D-DB58-747F-5187-FBC5665E4CB0}"/>
          </ac:spMkLst>
        </pc:spChg>
        <pc:spChg chg="mod">
          <ac:chgData name="Krishna Sharma" userId="daa697d5-8440-4694-9c7d-792884c08b9c" providerId="ADAL" clId="{C5F3E3DB-464F-4B95-9A21-49385C74D1A0}" dt="2025-06-10T09:24:18.687" v="1128" actId="14100"/>
          <ac:spMkLst>
            <pc:docMk/>
            <pc:sldMk cId="699312704" sldId="1419"/>
            <ac:spMk id="19" creationId="{A264226E-DF22-666A-0990-1E2BFA9D91E9}"/>
          </ac:spMkLst>
        </pc:spChg>
        <pc:spChg chg="mod">
          <ac:chgData name="Krishna Sharma" userId="daa697d5-8440-4694-9c7d-792884c08b9c" providerId="ADAL" clId="{C5F3E3DB-464F-4B95-9A21-49385C74D1A0}" dt="2025-06-10T09:24:13.234" v="1127" actId="1076"/>
          <ac:spMkLst>
            <pc:docMk/>
            <pc:sldMk cId="699312704" sldId="1419"/>
            <ac:spMk id="20" creationId="{0671DA0E-EA68-2063-2269-424204CC9471}"/>
          </ac:spMkLst>
        </pc:spChg>
        <pc:spChg chg="mod">
          <ac:chgData name="Krishna Sharma" userId="daa697d5-8440-4694-9c7d-792884c08b9c" providerId="ADAL" clId="{C5F3E3DB-464F-4B95-9A21-49385C74D1A0}" dt="2025-06-10T09:24:13.234" v="1127" actId="1076"/>
          <ac:spMkLst>
            <pc:docMk/>
            <pc:sldMk cId="699312704" sldId="1419"/>
            <ac:spMk id="21" creationId="{34F4B8A3-2F47-25AC-9FF7-7BF5C73FDF7F}"/>
          </ac:spMkLst>
        </pc:spChg>
        <pc:spChg chg="mod">
          <ac:chgData name="Krishna Sharma" userId="daa697d5-8440-4694-9c7d-792884c08b9c" providerId="ADAL" clId="{C5F3E3DB-464F-4B95-9A21-49385C74D1A0}" dt="2025-06-10T09:24:25.431" v="1129" actId="14100"/>
          <ac:spMkLst>
            <pc:docMk/>
            <pc:sldMk cId="699312704" sldId="1419"/>
            <ac:spMk id="22" creationId="{3199507C-3309-7E4D-33AF-9A9B8A99925C}"/>
          </ac:spMkLst>
        </pc:spChg>
        <pc:spChg chg="mod">
          <ac:chgData name="Krishna Sharma" userId="daa697d5-8440-4694-9c7d-792884c08b9c" providerId="ADAL" clId="{C5F3E3DB-464F-4B95-9A21-49385C74D1A0}" dt="2025-06-10T09:24:13.234" v="1127" actId="1076"/>
          <ac:spMkLst>
            <pc:docMk/>
            <pc:sldMk cId="699312704" sldId="1419"/>
            <ac:spMk id="24" creationId="{761E66B5-6228-38B5-51B7-9D2EEE343E82}"/>
          </ac:spMkLst>
        </pc:spChg>
        <pc:spChg chg="mod">
          <ac:chgData name="Krishna Sharma" userId="daa697d5-8440-4694-9c7d-792884c08b9c" providerId="ADAL" clId="{C5F3E3DB-464F-4B95-9A21-49385C74D1A0}" dt="2025-06-10T09:24:13.234" v="1127" actId="1076"/>
          <ac:spMkLst>
            <pc:docMk/>
            <pc:sldMk cId="699312704" sldId="1419"/>
            <ac:spMk id="25" creationId="{7F1530B5-E76E-CBA8-BE69-A97ECD21C5CC}"/>
          </ac:spMkLst>
        </pc:spChg>
        <pc:spChg chg="mod">
          <ac:chgData name="Krishna Sharma" userId="daa697d5-8440-4694-9c7d-792884c08b9c" providerId="ADAL" clId="{C5F3E3DB-464F-4B95-9A21-49385C74D1A0}" dt="2025-06-10T09:24:13.234" v="1127" actId="1076"/>
          <ac:spMkLst>
            <pc:docMk/>
            <pc:sldMk cId="699312704" sldId="1419"/>
            <ac:spMk id="27" creationId="{CF4B63DF-D8C7-8181-A714-78F6C5467125}"/>
          </ac:spMkLst>
        </pc:spChg>
        <pc:spChg chg="mod">
          <ac:chgData name="Krishna Sharma" userId="daa697d5-8440-4694-9c7d-792884c08b9c" providerId="ADAL" clId="{C5F3E3DB-464F-4B95-9A21-49385C74D1A0}" dt="2025-06-10T09:24:13.234" v="1127" actId="1076"/>
          <ac:spMkLst>
            <pc:docMk/>
            <pc:sldMk cId="699312704" sldId="1419"/>
            <ac:spMk id="28" creationId="{73748634-7603-C2ED-661A-0CF4B16B95A0}"/>
          </ac:spMkLst>
        </pc:spChg>
        <pc:spChg chg="mod">
          <ac:chgData name="Krishna Sharma" userId="daa697d5-8440-4694-9c7d-792884c08b9c" providerId="ADAL" clId="{C5F3E3DB-464F-4B95-9A21-49385C74D1A0}" dt="2025-06-10T09:24:36.131" v="1137" actId="1035"/>
          <ac:spMkLst>
            <pc:docMk/>
            <pc:sldMk cId="699312704" sldId="1419"/>
            <ac:spMk id="30" creationId="{3955BFC5-61FE-3F8B-D08C-D7598046E9D4}"/>
          </ac:spMkLst>
        </pc:spChg>
        <pc:spChg chg="mod">
          <ac:chgData name="Krishna Sharma" userId="daa697d5-8440-4694-9c7d-792884c08b9c" providerId="ADAL" clId="{C5F3E3DB-464F-4B95-9A21-49385C74D1A0}" dt="2025-06-10T09:24:36.131" v="1137" actId="1035"/>
          <ac:spMkLst>
            <pc:docMk/>
            <pc:sldMk cId="699312704" sldId="1419"/>
            <ac:spMk id="31" creationId="{9834B998-1C2A-3E9D-D8D6-D2D25ECFA010}"/>
          </ac:spMkLst>
        </pc:spChg>
      </pc:sldChg>
      <pc:sldChg chg="modSp mod ord">
        <pc:chgData name="Krishna Sharma" userId="daa697d5-8440-4694-9c7d-792884c08b9c" providerId="ADAL" clId="{C5F3E3DB-464F-4B95-9A21-49385C74D1A0}" dt="2025-06-10T06:30:38.237" v="280" actId="14100"/>
        <pc:sldMkLst>
          <pc:docMk/>
          <pc:sldMk cId="2534325615" sldId="1420"/>
        </pc:sldMkLst>
      </pc:sldChg>
      <pc:sldChg chg="modSp mod ord">
        <pc:chgData name="Krishna Sharma" userId="daa697d5-8440-4694-9c7d-792884c08b9c" providerId="ADAL" clId="{C5F3E3DB-464F-4B95-9A21-49385C74D1A0}" dt="2025-06-10T07:25:17.375" v="754" actId="20577"/>
        <pc:sldMkLst>
          <pc:docMk/>
          <pc:sldMk cId="401956825" sldId="1422"/>
        </pc:sldMkLst>
        <pc:spChg chg="mod">
          <ac:chgData name="Krishna Sharma" userId="daa697d5-8440-4694-9c7d-792884c08b9c" providerId="ADAL" clId="{C5F3E3DB-464F-4B95-9A21-49385C74D1A0}" dt="2025-06-10T06:30:54.709" v="286" actId="14100"/>
          <ac:spMkLst>
            <pc:docMk/>
            <pc:sldMk cId="401956825" sldId="1422"/>
            <ac:spMk id="2" creationId="{29BBE8E1-DF57-9CBA-4E86-8CDD2E6EFC37}"/>
          </ac:spMkLst>
        </pc:spChg>
        <pc:spChg chg="mod">
          <ac:chgData name="Krishna Sharma" userId="daa697d5-8440-4694-9c7d-792884c08b9c" providerId="ADAL" clId="{C5F3E3DB-464F-4B95-9A21-49385C74D1A0}" dt="2025-06-10T07:25:17.375" v="754" actId="20577"/>
          <ac:spMkLst>
            <pc:docMk/>
            <pc:sldMk cId="401956825" sldId="1422"/>
            <ac:spMk id="19" creationId="{92E59E4A-8507-2C7E-58BC-304204024DAB}"/>
          </ac:spMkLst>
        </pc:spChg>
      </pc:sldChg>
      <pc:sldChg chg="modSp mod ord">
        <pc:chgData name="Krishna Sharma" userId="daa697d5-8440-4694-9c7d-792884c08b9c" providerId="ADAL" clId="{C5F3E3DB-464F-4B95-9A21-49385C74D1A0}" dt="2025-06-10T06:31:05.851" v="290" actId="14100"/>
        <pc:sldMkLst>
          <pc:docMk/>
          <pc:sldMk cId="421499063" sldId="1423"/>
        </pc:sldMkLst>
      </pc:sldChg>
      <pc:sldChg chg="modSp mod ord">
        <pc:chgData name="Krishna Sharma" userId="daa697d5-8440-4694-9c7d-792884c08b9c" providerId="ADAL" clId="{C5F3E3DB-464F-4B95-9A21-49385C74D1A0}" dt="2025-06-10T06:31:14.335" v="293" actId="14100"/>
        <pc:sldMkLst>
          <pc:docMk/>
          <pc:sldMk cId="1630084977" sldId="1424"/>
        </pc:sldMkLst>
        <pc:spChg chg="mod">
          <ac:chgData name="Krishna Sharma" userId="daa697d5-8440-4694-9c7d-792884c08b9c" providerId="ADAL" clId="{C5F3E3DB-464F-4B95-9A21-49385C74D1A0}" dt="2025-06-10T06:31:14.335" v="293" actId="14100"/>
          <ac:spMkLst>
            <pc:docMk/>
            <pc:sldMk cId="1630084977" sldId="1424"/>
            <ac:spMk id="2" creationId="{D571FD96-727F-B6AF-7DDB-6D3A160D95DC}"/>
          </ac:spMkLst>
        </pc:spChg>
      </pc:sldChg>
      <pc:sldChg chg="modSp mod ord">
        <pc:chgData name="Krishna Sharma" userId="daa697d5-8440-4694-9c7d-792884c08b9c" providerId="ADAL" clId="{C5F3E3DB-464F-4B95-9A21-49385C74D1A0}" dt="2025-06-10T07:28:27.911" v="758" actId="20577"/>
        <pc:sldMkLst>
          <pc:docMk/>
          <pc:sldMk cId="149391360" sldId="1425"/>
        </pc:sldMkLst>
      </pc:sldChg>
      <pc:sldChg chg="modSp mod ord">
        <pc:chgData name="Krishna Sharma" userId="daa697d5-8440-4694-9c7d-792884c08b9c" providerId="ADAL" clId="{C5F3E3DB-464F-4B95-9A21-49385C74D1A0}" dt="2025-06-10T06:31:50.670" v="306" actId="14100"/>
        <pc:sldMkLst>
          <pc:docMk/>
          <pc:sldMk cId="2230945605" sldId="1427"/>
        </pc:sldMkLst>
      </pc:sldChg>
      <pc:sldChg chg="modSp mod ord">
        <pc:chgData name="Krishna Sharma" userId="daa697d5-8440-4694-9c7d-792884c08b9c" providerId="ADAL" clId="{C5F3E3DB-464F-4B95-9A21-49385C74D1A0}" dt="2025-06-10T06:31:43.039" v="302" actId="14100"/>
        <pc:sldMkLst>
          <pc:docMk/>
          <pc:sldMk cId="1185609157" sldId="1428"/>
        </pc:sldMkLst>
      </pc:sldChg>
      <pc:sldChg chg="modSp mod ord">
        <pc:chgData name="Krishna Sharma" userId="daa697d5-8440-4694-9c7d-792884c08b9c" providerId="ADAL" clId="{C5F3E3DB-464F-4B95-9A21-49385C74D1A0}" dt="2025-06-10T06:31:59.956" v="310" actId="14100"/>
        <pc:sldMkLst>
          <pc:docMk/>
          <pc:sldMk cId="295625867" sldId="1429"/>
        </pc:sldMkLst>
      </pc:sldChg>
      <pc:sldChg chg="modSp mod ord">
        <pc:chgData name="Krishna Sharma" userId="daa697d5-8440-4694-9c7d-792884c08b9c" providerId="ADAL" clId="{C5F3E3DB-464F-4B95-9A21-49385C74D1A0}" dt="2025-06-10T09:36:37.288" v="1177" actId="14100"/>
        <pc:sldMkLst>
          <pc:docMk/>
          <pc:sldMk cId="296054934" sldId="1431"/>
        </pc:sldMkLst>
      </pc:sldChg>
      <pc:sldChg chg="modSp mod ord">
        <pc:chgData name="Krishna Sharma" userId="daa697d5-8440-4694-9c7d-792884c08b9c" providerId="ADAL" clId="{C5F3E3DB-464F-4B95-9A21-49385C74D1A0}" dt="2025-06-10T06:32:19.859" v="318" actId="14100"/>
        <pc:sldMkLst>
          <pc:docMk/>
          <pc:sldMk cId="1115682485" sldId="1432"/>
        </pc:sldMkLst>
      </pc:sldChg>
      <pc:sldChg chg="modSp mod ord">
        <pc:chgData name="Krishna Sharma" userId="daa697d5-8440-4694-9c7d-792884c08b9c" providerId="ADAL" clId="{C5F3E3DB-464F-4B95-9A21-49385C74D1A0}" dt="2025-06-10T06:32:28.065" v="322" actId="14100"/>
        <pc:sldMkLst>
          <pc:docMk/>
          <pc:sldMk cId="1521786324" sldId="1434"/>
        </pc:sldMkLst>
      </pc:sldChg>
      <pc:sldChg chg="modSp mod ord">
        <pc:chgData name="Krishna Sharma" userId="daa697d5-8440-4694-9c7d-792884c08b9c" providerId="ADAL" clId="{C5F3E3DB-464F-4B95-9A21-49385C74D1A0}" dt="2025-06-10T09:38:01.522" v="1205" actId="1035"/>
        <pc:sldMkLst>
          <pc:docMk/>
          <pc:sldMk cId="702474907" sldId="1435"/>
        </pc:sldMkLst>
      </pc:sldChg>
      <pc:sldChg chg="modSp mod ord">
        <pc:chgData name="Krishna Sharma" userId="daa697d5-8440-4694-9c7d-792884c08b9c" providerId="ADAL" clId="{C5F3E3DB-464F-4B95-9A21-49385C74D1A0}" dt="2025-06-10T10:04:51.638" v="1898" actId="1035"/>
        <pc:sldMkLst>
          <pc:docMk/>
          <pc:sldMk cId="3136698276" sldId="1436"/>
        </pc:sldMkLst>
      </pc:sldChg>
      <pc:sldChg chg="modSp mod ord">
        <pc:chgData name="Krishna Sharma" userId="daa697d5-8440-4694-9c7d-792884c08b9c" providerId="ADAL" clId="{C5F3E3DB-464F-4B95-9A21-49385C74D1A0}" dt="2025-06-10T09:59:26.630" v="1652" actId="1037"/>
        <pc:sldMkLst>
          <pc:docMk/>
          <pc:sldMk cId="150165841" sldId="1438"/>
        </pc:sldMkLst>
      </pc:sldChg>
      <pc:sldChg chg="modSp mod ord">
        <pc:chgData name="Krishna Sharma" userId="daa697d5-8440-4694-9c7d-792884c08b9c" providerId="ADAL" clId="{C5F3E3DB-464F-4B95-9A21-49385C74D1A0}" dt="2025-06-10T09:58:25.306" v="1625" actId="1035"/>
        <pc:sldMkLst>
          <pc:docMk/>
          <pc:sldMk cId="2013412701" sldId="1439"/>
        </pc:sldMkLst>
      </pc:sldChg>
      <pc:sldChg chg="modSp mod ord">
        <pc:chgData name="Krishna Sharma" userId="daa697d5-8440-4694-9c7d-792884c08b9c" providerId="ADAL" clId="{C5F3E3DB-464F-4B95-9A21-49385C74D1A0}" dt="2025-06-10T09:55:25.542" v="1521" actId="1035"/>
        <pc:sldMkLst>
          <pc:docMk/>
          <pc:sldMk cId="799131380" sldId="1440"/>
        </pc:sldMkLst>
      </pc:sldChg>
      <pc:sldChg chg="modSp mod ord">
        <pc:chgData name="Krishna Sharma" userId="daa697d5-8440-4694-9c7d-792884c08b9c" providerId="ADAL" clId="{C5F3E3DB-464F-4B95-9A21-49385C74D1A0}" dt="2025-06-10T09:52:45.591" v="1429" actId="255"/>
        <pc:sldMkLst>
          <pc:docMk/>
          <pc:sldMk cId="3195594924" sldId="1441"/>
        </pc:sldMkLst>
        <pc:spChg chg="mod">
          <ac:chgData name="Krishna Sharma" userId="daa697d5-8440-4694-9c7d-792884c08b9c" providerId="ADAL" clId="{C5F3E3DB-464F-4B95-9A21-49385C74D1A0}" dt="2025-06-10T06:33:21.833" v="346" actId="14100"/>
          <ac:spMkLst>
            <pc:docMk/>
            <pc:sldMk cId="3195594924" sldId="1441"/>
            <ac:spMk id="2" creationId="{70B93DFC-093C-CA62-DD31-5B210CE92978}"/>
          </ac:spMkLst>
        </pc:spChg>
      </pc:sldChg>
      <pc:sldChg chg="modSp mod ord">
        <pc:chgData name="Krishna Sharma" userId="daa697d5-8440-4694-9c7d-792884c08b9c" providerId="ADAL" clId="{C5F3E3DB-464F-4B95-9A21-49385C74D1A0}" dt="2025-06-10T10:10:32.214" v="1967" actId="1035"/>
        <pc:sldMkLst>
          <pc:docMk/>
          <pc:sldMk cId="2635961108" sldId="1443"/>
        </pc:sldMkLst>
        <pc:spChg chg="mod">
          <ac:chgData name="Krishna Sharma" userId="daa697d5-8440-4694-9c7d-792884c08b9c" providerId="ADAL" clId="{C5F3E3DB-464F-4B95-9A21-49385C74D1A0}" dt="2025-06-10T07:33:41.144" v="769" actId="14100"/>
          <ac:spMkLst>
            <pc:docMk/>
            <pc:sldMk cId="2635961108" sldId="1443"/>
            <ac:spMk id="2" creationId="{CF802232-3C26-F3B6-B4C7-C8159E0A1CF5}"/>
          </ac:spMkLst>
        </pc:spChg>
      </pc:sldChg>
      <pc:sldChg chg="modSp mod ord">
        <pc:chgData name="Krishna Sharma" userId="daa697d5-8440-4694-9c7d-792884c08b9c" providerId="ADAL" clId="{C5F3E3DB-464F-4B95-9A21-49385C74D1A0}" dt="2025-06-10T09:50:21.258" v="1393" actId="1036"/>
        <pc:sldMkLst>
          <pc:docMk/>
          <pc:sldMk cId="3213822245" sldId="1444"/>
        </pc:sldMkLst>
      </pc:sldChg>
      <pc:sldChg chg="modSp mod ord">
        <pc:chgData name="Krishna Sharma" userId="daa697d5-8440-4694-9c7d-792884c08b9c" providerId="ADAL" clId="{C5F3E3DB-464F-4B95-9A21-49385C74D1A0}" dt="2025-06-10T09:51:06.333" v="1394" actId="403"/>
        <pc:sldMkLst>
          <pc:docMk/>
          <pc:sldMk cId="3791180366" sldId="1445"/>
        </pc:sldMkLst>
      </pc:sldChg>
      <pc:sldChg chg="modSp mod ord">
        <pc:chgData name="Krishna Sharma" userId="daa697d5-8440-4694-9c7d-792884c08b9c" providerId="ADAL" clId="{C5F3E3DB-464F-4B95-9A21-49385C74D1A0}" dt="2025-06-10T06:33:49.353" v="350"/>
        <pc:sldMkLst>
          <pc:docMk/>
          <pc:sldMk cId="3126065644" sldId="1446"/>
        </pc:sldMkLst>
        <pc:spChg chg="mod">
          <ac:chgData name="Krishna Sharma" userId="daa697d5-8440-4694-9c7d-792884c08b9c" providerId="ADAL" clId="{C5F3E3DB-464F-4B95-9A21-49385C74D1A0}" dt="2025-06-10T06:33:38.291" v="348" actId="20577"/>
          <ac:spMkLst>
            <pc:docMk/>
            <pc:sldMk cId="3126065644" sldId="1446"/>
            <ac:spMk id="9" creationId="{5D7636D4-B8F6-542D-5BCD-0DAD0004D828}"/>
          </ac:spMkLst>
        </pc:spChg>
      </pc:sldChg>
      <pc:sldChg chg="modSp mod ord">
        <pc:chgData name="Krishna Sharma" userId="daa697d5-8440-4694-9c7d-792884c08b9c" providerId="ADAL" clId="{C5F3E3DB-464F-4B95-9A21-49385C74D1A0}" dt="2025-06-10T09:52:14.843" v="1427" actId="403"/>
        <pc:sldMkLst>
          <pc:docMk/>
          <pc:sldMk cId="616849497" sldId="1449"/>
        </pc:sldMkLst>
      </pc:sldChg>
      <pc:sldChg chg="modSp mod ord">
        <pc:chgData name="Krishna Sharma" userId="daa697d5-8440-4694-9c7d-792884c08b9c" providerId="ADAL" clId="{C5F3E3DB-464F-4B95-9A21-49385C74D1A0}" dt="2025-06-10T07:35:14.491" v="805" actId="14100"/>
        <pc:sldMkLst>
          <pc:docMk/>
          <pc:sldMk cId="734762824" sldId="1450"/>
        </pc:sldMkLst>
      </pc:sldChg>
      <pc:sldChg chg="ord">
        <pc:chgData name="Krishna Sharma" userId="daa697d5-8440-4694-9c7d-792884c08b9c" providerId="ADAL" clId="{C5F3E3DB-464F-4B95-9A21-49385C74D1A0}" dt="2025-06-10T06:33:49.353" v="350"/>
        <pc:sldMkLst>
          <pc:docMk/>
          <pc:sldMk cId="4036006436" sldId="1451"/>
        </pc:sldMkLst>
      </pc:sldChg>
      <pc:sldChg chg="del">
        <pc:chgData name="Krishna Sharma" userId="daa697d5-8440-4694-9c7d-792884c08b9c" providerId="ADAL" clId="{C5F3E3DB-464F-4B95-9A21-49385C74D1A0}" dt="2025-06-10T06:04:59.146" v="96" actId="47"/>
        <pc:sldMkLst>
          <pc:docMk/>
          <pc:sldMk cId="1851568220" sldId="1453"/>
        </pc:sldMkLst>
      </pc:sldChg>
      <pc:sldChg chg="modSp">
        <pc:chgData name="Krishna Sharma" userId="daa697d5-8440-4694-9c7d-792884c08b9c" providerId="ADAL" clId="{C5F3E3DB-464F-4B95-9A21-49385C74D1A0}" dt="2025-06-10T06:57:02.920" v="509"/>
        <pc:sldMkLst>
          <pc:docMk/>
          <pc:sldMk cId="1641759748" sldId="1454"/>
        </pc:sldMkLst>
        <pc:spChg chg="mod">
          <ac:chgData name="Krishna Sharma" userId="daa697d5-8440-4694-9c7d-792884c08b9c" providerId="ADAL" clId="{C5F3E3DB-464F-4B95-9A21-49385C74D1A0}" dt="2025-06-10T06:57:02.920" v="509"/>
          <ac:spMkLst>
            <pc:docMk/>
            <pc:sldMk cId="1641759748" sldId="1454"/>
            <ac:spMk id="6" creationId="{0E54B945-7029-CA17-5AB1-06341575C01B}"/>
          </ac:spMkLst>
        </pc:spChg>
      </pc:sldChg>
      <pc:sldChg chg="del ord">
        <pc:chgData name="Krishna Sharma" userId="daa697d5-8440-4694-9c7d-792884c08b9c" providerId="ADAL" clId="{C5F3E3DB-464F-4B95-9A21-49385C74D1A0}" dt="2025-06-10T07:35:27.009" v="806" actId="47"/>
        <pc:sldMkLst>
          <pc:docMk/>
          <pc:sldMk cId="2707528224" sldId="1456"/>
        </pc:sldMkLst>
      </pc:sldChg>
      <pc:sldChg chg="modSp mod">
        <pc:chgData name="Krishna Sharma" userId="daa697d5-8440-4694-9c7d-792884c08b9c" providerId="ADAL" clId="{C5F3E3DB-464F-4B95-9A21-49385C74D1A0}" dt="2025-06-10T09:48:24.699" v="1369" actId="5793"/>
        <pc:sldMkLst>
          <pc:docMk/>
          <pc:sldMk cId="866224783" sldId="1457"/>
        </pc:sldMkLst>
        <pc:spChg chg="mod">
          <ac:chgData name="Krishna Sharma" userId="daa697d5-8440-4694-9c7d-792884c08b9c" providerId="ADAL" clId="{C5F3E3DB-464F-4B95-9A21-49385C74D1A0}" dt="2025-06-10T06:44:34.082" v="395"/>
          <ac:spMkLst>
            <pc:docMk/>
            <pc:sldMk cId="866224783" sldId="1457"/>
            <ac:spMk id="6" creationId="{B64D2C42-AD46-815C-CDAB-5AEEFDBFCF6D}"/>
          </ac:spMkLst>
        </pc:spChg>
        <pc:spChg chg="mod">
          <ac:chgData name="Krishna Sharma" userId="daa697d5-8440-4694-9c7d-792884c08b9c" providerId="ADAL" clId="{C5F3E3DB-464F-4B95-9A21-49385C74D1A0}" dt="2025-06-10T09:43:58.274" v="1233" actId="6549"/>
          <ac:spMkLst>
            <pc:docMk/>
            <pc:sldMk cId="866224783" sldId="1457"/>
            <ac:spMk id="58" creationId="{5727D17E-75EA-8347-FFE5-DFD20EBC73F5}"/>
          </ac:spMkLst>
        </pc:spChg>
        <pc:spChg chg="mod">
          <ac:chgData name="Krishna Sharma" userId="daa697d5-8440-4694-9c7d-792884c08b9c" providerId="ADAL" clId="{C5F3E3DB-464F-4B95-9A21-49385C74D1A0}" dt="2025-06-10T09:44:41.129" v="1235" actId="20577"/>
          <ac:spMkLst>
            <pc:docMk/>
            <pc:sldMk cId="866224783" sldId="1457"/>
            <ac:spMk id="63" creationId="{D09C6073-6D07-B228-92D4-5FCFB1E32783}"/>
          </ac:spMkLst>
        </pc:spChg>
        <pc:spChg chg="mod">
          <ac:chgData name="Krishna Sharma" userId="daa697d5-8440-4694-9c7d-792884c08b9c" providerId="ADAL" clId="{C5F3E3DB-464F-4B95-9A21-49385C74D1A0}" dt="2025-06-10T09:48:24.699" v="1369" actId="5793"/>
          <ac:spMkLst>
            <pc:docMk/>
            <pc:sldMk cId="866224783" sldId="1457"/>
            <ac:spMk id="64" creationId="{58F40141-7742-406D-07CE-F6BEFAFD9E3D}"/>
          </ac:spMkLst>
        </pc:spChg>
      </pc:sldChg>
      <pc:sldChg chg="modSp mod">
        <pc:chgData name="Krishna Sharma" userId="daa697d5-8440-4694-9c7d-792884c08b9c" providerId="ADAL" clId="{C5F3E3DB-464F-4B95-9A21-49385C74D1A0}" dt="2025-06-10T06:03:42.961" v="84" actId="1035"/>
        <pc:sldMkLst>
          <pc:docMk/>
          <pc:sldMk cId="2310470516" sldId="1458"/>
        </pc:sldMkLst>
        <pc:spChg chg="mod">
          <ac:chgData name="Krishna Sharma" userId="daa697d5-8440-4694-9c7d-792884c08b9c" providerId="ADAL" clId="{C5F3E3DB-464F-4B95-9A21-49385C74D1A0}" dt="2025-06-10T06:03:42.961" v="84" actId="1035"/>
          <ac:spMkLst>
            <pc:docMk/>
            <pc:sldMk cId="2310470516" sldId="1458"/>
            <ac:spMk id="2" creationId="{4EEFEE2B-6CD0-FC5B-8A95-533F3D0DA2C0}"/>
          </ac:spMkLst>
        </pc:spChg>
        <pc:spChg chg="mod">
          <ac:chgData name="Krishna Sharma" userId="daa697d5-8440-4694-9c7d-792884c08b9c" providerId="ADAL" clId="{C5F3E3DB-464F-4B95-9A21-49385C74D1A0}" dt="2025-06-10T06:03:23.584" v="75"/>
          <ac:spMkLst>
            <pc:docMk/>
            <pc:sldMk cId="2310470516" sldId="1458"/>
            <ac:spMk id="8" creationId="{833674AE-8387-19BE-2772-E1504BAD8972}"/>
          </ac:spMkLst>
        </pc:spChg>
      </pc:sldChg>
      <pc:sldChg chg="modSp del">
        <pc:chgData name="Krishna Sharma" userId="daa697d5-8440-4694-9c7d-792884c08b9c" providerId="ADAL" clId="{C5F3E3DB-464F-4B95-9A21-49385C74D1A0}" dt="2025-06-10T06:04:36.741" v="93" actId="47"/>
        <pc:sldMkLst>
          <pc:docMk/>
          <pc:sldMk cId="3147605732" sldId="1459"/>
        </pc:sldMkLst>
      </pc:sldChg>
      <pc:sldChg chg="modSp mod ord">
        <pc:chgData name="Krishna Sharma" userId="daa697d5-8440-4694-9c7d-792884c08b9c" providerId="ADAL" clId="{C5F3E3DB-464F-4B95-9A21-49385C74D1A0}" dt="2025-06-10T06:44:29.338" v="394"/>
        <pc:sldMkLst>
          <pc:docMk/>
          <pc:sldMk cId="295806820" sldId="1460"/>
        </pc:sldMkLst>
        <pc:spChg chg="mod">
          <ac:chgData name="Krishna Sharma" userId="daa697d5-8440-4694-9c7d-792884c08b9c" providerId="ADAL" clId="{C5F3E3DB-464F-4B95-9A21-49385C74D1A0}" dt="2025-06-10T06:04:13.386" v="89" actId="1076"/>
          <ac:spMkLst>
            <pc:docMk/>
            <pc:sldMk cId="295806820" sldId="1460"/>
            <ac:spMk id="2" creationId="{B58E7C55-F761-E7F1-DECE-23A0A0DC2D33}"/>
          </ac:spMkLst>
        </pc:spChg>
        <pc:spChg chg="mod">
          <ac:chgData name="Krishna Sharma" userId="daa697d5-8440-4694-9c7d-792884c08b9c" providerId="ADAL" clId="{C5F3E3DB-464F-4B95-9A21-49385C74D1A0}" dt="2025-06-10T06:04:42.339" v="95" actId="20577"/>
          <ac:spMkLst>
            <pc:docMk/>
            <pc:sldMk cId="295806820" sldId="1460"/>
            <ac:spMk id="3" creationId="{424ED9FB-6F19-884C-956E-5AC4ABDD97DA}"/>
          </ac:spMkLst>
        </pc:spChg>
        <pc:spChg chg="mod">
          <ac:chgData name="Krishna Sharma" userId="daa697d5-8440-4694-9c7d-792884c08b9c" providerId="ADAL" clId="{C5F3E3DB-464F-4B95-9A21-49385C74D1A0}" dt="2025-06-10T06:44:29.338" v="394"/>
          <ac:spMkLst>
            <pc:docMk/>
            <pc:sldMk cId="295806820" sldId="1460"/>
            <ac:spMk id="8" creationId="{72E5EF8E-6FFC-6CF6-1AA5-AB978A7B299B}"/>
          </ac:spMkLst>
        </pc:spChg>
      </pc:sldChg>
      <pc:sldChg chg="del">
        <pc:chgData name="Krishna Sharma" userId="daa697d5-8440-4694-9c7d-792884c08b9c" providerId="ADAL" clId="{C5F3E3DB-464F-4B95-9A21-49385C74D1A0}" dt="2025-06-10T06:04:59.146" v="96" actId="47"/>
        <pc:sldMkLst>
          <pc:docMk/>
          <pc:sldMk cId="1505764459" sldId="1461"/>
        </pc:sldMkLst>
      </pc:sldChg>
      <pc:sldChg chg="modSp mod">
        <pc:chgData name="Krishna Sharma" userId="daa697d5-8440-4694-9c7d-792884c08b9c" providerId="ADAL" clId="{C5F3E3DB-464F-4B95-9A21-49385C74D1A0}" dt="2025-06-10T09:15:47.173" v="994" actId="14100"/>
        <pc:sldMkLst>
          <pc:docMk/>
          <pc:sldMk cId="3763779622" sldId="1462"/>
        </pc:sldMkLst>
        <pc:spChg chg="mod">
          <ac:chgData name="Krishna Sharma" userId="daa697d5-8440-4694-9c7d-792884c08b9c" providerId="ADAL" clId="{C5F3E3DB-464F-4B95-9A21-49385C74D1A0}" dt="2025-06-10T09:15:47.173" v="994" actId="14100"/>
          <ac:spMkLst>
            <pc:docMk/>
            <pc:sldMk cId="3763779622" sldId="1462"/>
            <ac:spMk id="5" creationId="{E213CDB6-D449-1828-2111-50CA18AC30DC}"/>
          </ac:spMkLst>
        </pc:spChg>
        <pc:spChg chg="mod">
          <ac:chgData name="Krishna Sharma" userId="daa697d5-8440-4694-9c7d-792884c08b9c" providerId="ADAL" clId="{C5F3E3DB-464F-4B95-9A21-49385C74D1A0}" dt="2025-06-10T06:56:52.789" v="507"/>
          <ac:spMkLst>
            <pc:docMk/>
            <pc:sldMk cId="3763779622" sldId="1462"/>
            <ac:spMk id="9" creationId="{1D71E52D-706A-133C-C680-D04DA8F757D6}"/>
          </ac:spMkLst>
        </pc:spChg>
      </pc:sldChg>
      <pc:sldChg chg="modSp">
        <pc:chgData name="Krishna Sharma" userId="daa697d5-8440-4694-9c7d-792884c08b9c" providerId="ADAL" clId="{C5F3E3DB-464F-4B95-9A21-49385C74D1A0}" dt="2025-06-10T06:56:58.882" v="508"/>
        <pc:sldMkLst>
          <pc:docMk/>
          <pc:sldMk cId="1622360155" sldId="1463"/>
        </pc:sldMkLst>
        <pc:spChg chg="mod">
          <ac:chgData name="Krishna Sharma" userId="daa697d5-8440-4694-9c7d-792884c08b9c" providerId="ADAL" clId="{C5F3E3DB-464F-4B95-9A21-49385C74D1A0}" dt="2025-06-10T06:56:58.882" v="508"/>
          <ac:spMkLst>
            <pc:docMk/>
            <pc:sldMk cId="1622360155" sldId="1463"/>
            <ac:spMk id="8" creationId="{D0015355-300E-D150-A46D-1BCB40E28EDB}"/>
          </ac:spMkLst>
        </pc:spChg>
      </pc:sldChg>
      <pc:sldChg chg="del ord">
        <pc:chgData name="Krishna Sharma" userId="daa697d5-8440-4694-9c7d-792884c08b9c" providerId="ADAL" clId="{C5F3E3DB-464F-4B95-9A21-49385C74D1A0}" dt="2025-06-10T07:35:27.009" v="806" actId="47"/>
        <pc:sldMkLst>
          <pc:docMk/>
          <pc:sldMk cId="1117669613" sldId="1466"/>
        </pc:sldMkLst>
      </pc:sldChg>
      <pc:sldChg chg="del ord">
        <pc:chgData name="Krishna Sharma" userId="daa697d5-8440-4694-9c7d-792884c08b9c" providerId="ADAL" clId="{C5F3E3DB-464F-4B95-9A21-49385C74D1A0}" dt="2025-06-10T07:35:27.009" v="806" actId="47"/>
        <pc:sldMkLst>
          <pc:docMk/>
          <pc:sldMk cId="2727711925" sldId="1467"/>
        </pc:sldMkLst>
      </pc:sldChg>
      <pc:sldChg chg="del">
        <pc:chgData name="Krishna Sharma" userId="daa697d5-8440-4694-9c7d-792884c08b9c" providerId="ADAL" clId="{C5F3E3DB-464F-4B95-9A21-49385C74D1A0}" dt="2025-06-10T07:35:27.009" v="806" actId="47"/>
        <pc:sldMkLst>
          <pc:docMk/>
          <pc:sldMk cId="2463836622" sldId="1468"/>
        </pc:sldMkLst>
      </pc:sldChg>
      <pc:sldChg chg="del">
        <pc:chgData name="Krishna Sharma" userId="daa697d5-8440-4694-9c7d-792884c08b9c" providerId="ADAL" clId="{C5F3E3DB-464F-4B95-9A21-49385C74D1A0}" dt="2025-06-10T07:35:27.009" v="806" actId="47"/>
        <pc:sldMkLst>
          <pc:docMk/>
          <pc:sldMk cId="3070390084" sldId="1469"/>
        </pc:sldMkLst>
      </pc:sldChg>
      <pc:sldChg chg="modSp mod ord">
        <pc:chgData name="Krishna Sharma" userId="daa697d5-8440-4694-9c7d-792884c08b9c" providerId="ADAL" clId="{C5F3E3DB-464F-4B95-9A21-49385C74D1A0}" dt="2025-06-10T07:36:10.316" v="817" actId="20577"/>
        <pc:sldMkLst>
          <pc:docMk/>
          <pc:sldMk cId="2334717616" sldId="1470"/>
        </pc:sldMkLst>
        <pc:spChg chg="mod">
          <ac:chgData name="Krishna Sharma" userId="daa697d5-8440-4694-9c7d-792884c08b9c" providerId="ADAL" clId="{C5F3E3DB-464F-4B95-9A21-49385C74D1A0}" dt="2025-06-10T07:34:11.019" v="782" actId="14100"/>
          <ac:spMkLst>
            <pc:docMk/>
            <pc:sldMk cId="2334717616" sldId="1470"/>
            <ac:spMk id="2" creationId="{2201CD5E-C16A-749E-A288-638FF9BA7C12}"/>
          </ac:spMkLst>
        </pc:spChg>
        <pc:spChg chg="mod">
          <ac:chgData name="Krishna Sharma" userId="daa697d5-8440-4694-9c7d-792884c08b9c" providerId="ADAL" clId="{C5F3E3DB-464F-4B95-9A21-49385C74D1A0}" dt="2025-06-10T07:36:10.316" v="817" actId="20577"/>
          <ac:spMkLst>
            <pc:docMk/>
            <pc:sldMk cId="2334717616" sldId="1470"/>
            <ac:spMk id="3" creationId="{F73DB6F3-DA58-7A70-85F4-ED3197A8252C}"/>
          </ac:spMkLst>
        </pc:spChg>
      </pc:sldChg>
      <pc:sldChg chg="modSp mod ord">
        <pc:chgData name="Krishna Sharma" userId="daa697d5-8440-4694-9c7d-792884c08b9c" providerId="ADAL" clId="{C5F3E3DB-464F-4B95-9A21-49385C74D1A0}" dt="2025-06-10T07:35:56.807" v="812" actId="20577"/>
        <pc:sldMkLst>
          <pc:docMk/>
          <pc:sldMk cId="2922851237" sldId="1471"/>
        </pc:sldMkLst>
        <pc:spChg chg="mod">
          <ac:chgData name="Krishna Sharma" userId="daa697d5-8440-4694-9c7d-792884c08b9c" providerId="ADAL" clId="{C5F3E3DB-464F-4B95-9A21-49385C74D1A0}" dt="2025-06-10T07:34:28.131" v="785" actId="14100"/>
          <ac:spMkLst>
            <pc:docMk/>
            <pc:sldMk cId="2922851237" sldId="1471"/>
            <ac:spMk id="2" creationId="{7720D735-7B20-5489-1618-F2F4041A3C30}"/>
          </ac:spMkLst>
        </pc:spChg>
        <pc:spChg chg="mod">
          <ac:chgData name="Krishna Sharma" userId="daa697d5-8440-4694-9c7d-792884c08b9c" providerId="ADAL" clId="{C5F3E3DB-464F-4B95-9A21-49385C74D1A0}" dt="2025-06-10T07:35:56.807" v="812" actId="20577"/>
          <ac:spMkLst>
            <pc:docMk/>
            <pc:sldMk cId="2922851237" sldId="1471"/>
            <ac:spMk id="3" creationId="{45BCC9CC-D67D-BC30-A190-8BF4F99095DD}"/>
          </ac:spMkLst>
        </pc:spChg>
      </pc:sldChg>
      <pc:sldChg chg="del">
        <pc:chgData name="Krishna Sharma" userId="daa697d5-8440-4694-9c7d-792884c08b9c" providerId="ADAL" clId="{C5F3E3DB-464F-4B95-9A21-49385C74D1A0}" dt="2025-06-10T07:09:34.110" v="515" actId="47"/>
        <pc:sldMkLst>
          <pc:docMk/>
          <pc:sldMk cId="4266953209" sldId="1472"/>
        </pc:sldMkLst>
      </pc:sldChg>
      <pc:sldChg chg="delSp modSp mod">
        <pc:chgData name="Krishna Sharma" userId="daa697d5-8440-4694-9c7d-792884c08b9c" providerId="ADAL" clId="{C5F3E3DB-464F-4B95-9A21-49385C74D1A0}" dt="2025-06-10T09:12:52.424" v="987" actId="14100"/>
        <pc:sldMkLst>
          <pc:docMk/>
          <pc:sldMk cId="615437714" sldId="1475"/>
        </pc:sldMkLst>
        <pc:spChg chg="mod">
          <ac:chgData name="Krishna Sharma" userId="daa697d5-8440-4694-9c7d-792884c08b9c" providerId="ADAL" clId="{C5F3E3DB-464F-4B95-9A21-49385C74D1A0}" dt="2025-06-10T09:12:52.424" v="987" actId="14100"/>
          <ac:spMkLst>
            <pc:docMk/>
            <pc:sldMk cId="615437714" sldId="1475"/>
            <ac:spMk id="2" creationId="{D0B06A2C-8377-46BD-A1E3-1BA4F17B2253}"/>
          </ac:spMkLst>
        </pc:spChg>
      </pc:sldChg>
      <pc:sldChg chg="modSp mod">
        <pc:chgData name="Krishna Sharma" userId="daa697d5-8440-4694-9c7d-792884c08b9c" providerId="ADAL" clId="{C5F3E3DB-464F-4B95-9A21-49385C74D1A0}" dt="2025-06-10T09:12:58.728" v="988" actId="14100"/>
        <pc:sldMkLst>
          <pc:docMk/>
          <pc:sldMk cId="4159238697" sldId="1482"/>
        </pc:sldMkLst>
        <pc:spChg chg="mod">
          <ac:chgData name="Krishna Sharma" userId="daa697d5-8440-4694-9c7d-792884c08b9c" providerId="ADAL" clId="{C5F3E3DB-464F-4B95-9A21-49385C74D1A0}" dt="2025-06-10T09:12:58.728" v="988" actId="14100"/>
          <ac:spMkLst>
            <pc:docMk/>
            <pc:sldMk cId="4159238697" sldId="1482"/>
            <ac:spMk id="2" creationId="{0A7595C0-18F1-2D9B-89EA-77834E71F886}"/>
          </ac:spMkLst>
        </pc:spChg>
      </pc:sldChg>
      <pc:sldChg chg="modSp mod">
        <pc:chgData name="Krishna Sharma" userId="daa697d5-8440-4694-9c7d-792884c08b9c" providerId="ADAL" clId="{C5F3E3DB-464F-4B95-9A21-49385C74D1A0}" dt="2025-06-10T09:13:33.407" v="991" actId="113"/>
        <pc:sldMkLst>
          <pc:docMk/>
          <pc:sldMk cId="1349145241" sldId="1487"/>
        </pc:sldMkLst>
        <pc:spChg chg="mod">
          <ac:chgData name="Krishna Sharma" userId="daa697d5-8440-4694-9c7d-792884c08b9c" providerId="ADAL" clId="{C5F3E3DB-464F-4B95-9A21-49385C74D1A0}" dt="2025-06-10T09:13:33.407" v="991" actId="113"/>
          <ac:spMkLst>
            <pc:docMk/>
            <pc:sldMk cId="1349145241" sldId="1487"/>
            <ac:spMk id="2" creationId="{7B2C060C-C60C-CE5B-D0DF-D5EB2B3C2012}"/>
          </ac:spMkLst>
        </pc:spChg>
      </pc:sldChg>
      <pc:sldChg chg="del">
        <pc:chgData name="Krishna Sharma" userId="daa697d5-8440-4694-9c7d-792884c08b9c" providerId="ADAL" clId="{C5F3E3DB-464F-4B95-9A21-49385C74D1A0}" dt="2025-06-10T07:01:27.386" v="513" actId="47"/>
        <pc:sldMkLst>
          <pc:docMk/>
          <pc:sldMk cId="4217181062" sldId="1488"/>
        </pc:sldMkLst>
      </pc:sldChg>
      <pc:sldChg chg="del">
        <pc:chgData name="Krishna Sharma" userId="daa697d5-8440-4694-9c7d-792884c08b9c" providerId="ADAL" clId="{C5F3E3DB-464F-4B95-9A21-49385C74D1A0}" dt="2025-06-10T07:10:25.508" v="516" actId="47"/>
        <pc:sldMkLst>
          <pc:docMk/>
          <pc:sldMk cId="124745691" sldId="1489"/>
        </pc:sldMkLst>
      </pc:sldChg>
      <pc:sldChg chg="modSp mod">
        <pc:chgData name="Krishna Sharma" userId="daa697d5-8440-4694-9c7d-792884c08b9c" providerId="ADAL" clId="{C5F3E3DB-464F-4B95-9A21-49385C74D1A0}" dt="2025-06-10T09:18:11.439" v="1034" actId="20577"/>
        <pc:sldMkLst>
          <pc:docMk/>
          <pc:sldMk cId="2382565619" sldId="1490"/>
        </pc:sldMkLst>
        <pc:spChg chg="mod">
          <ac:chgData name="Krishna Sharma" userId="daa697d5-8440-4694-9c7d-792884c08b9c" providerId="ADAL" clId="{C5F3E3DB-464F-4B95-9A21-49385C74D1A0}" dt="2025-06-10T09:18:11.439" v="1034" actId="20577"/>
          <ac:spMkLst>
            <pc:docMk/>
            <pc:sldMk cId="2382565619" sldId="1490"/>
            <ac:spMk id="9" creationId="{1BE85513-65A7-9C0D-8280-0BBB5DAC25F7}"/>
          </ac:spMkLst>
        </pc:spChg>
      </pc:sldChg>
      <pc:sldChg chg="addSp modSp mod ord">
        <pc:chgData name="Krishna Sharma" userId="daa697d5-8440-4694-9c7d-792884c08b9c" providerId="ADAL" clId="{C5F3E3DB-464F-4B95-9A21-49385C74D1A0}" dt="2025-06-10T09:19:18.768" v="1060"/>
        <pc:sldMkLst>
          <pc:docMk/>
          <pc:sldMk cId="127296720" sldId="1491"/>
        </pc:sldMkLst>
        <pc:spChg chg="mod">
          <ac:chgData name="Krishna Sharma" userId="daa697d5-8440-4694-9c7d-792884c08b9c" providerId="ADAL" clId="{C5F3E3DB-464F-4B95-9A21-49385C74D1A0}" dt="2025-06-10T06:45:57.564" v="410"/>
          <ac:spMkLst>
            <pc:docMk/>
            <pc:sldMk cId="127296720" sldId="1491"/>
            <ac:spMk id="4" creationId="{E9B23FBB-289D-E5AF-80D8-CCDE51639453}"/>
          </ac:spMkLst>
        </pc:spChg>
      </pc:sldChg>
      <pc:sldChg chg="modSp ord">
        <pc:chgData name="Krishna Sharma" userId="daa697d5-8440-4694-9c7d-792884c08b9c" providerId="ADAL" clId="{C5F3E3DB-464F-4B95-9A21-49385C74D1A0}" dt="2025-06-10T06:45:46.746" v="407"/>
        <pc:sldMkLst>
          <pc:docMk/>
          <pc:sldMk cId="3658727067" sldId="1492"/>
        </pc:sldMkLst>
        <pc:spChg chg="mod">
          <ac:chgData name="Krishna Sharma" userId="daa697d5-8440-4694-9c7d-792884c08b9c" providerId="ADAL" clId="{C5F3E3DB-464F-4B95-9A21-49385C74D1A0}" dt="2025-06-10T06:45:46.746" v="407"/>
          <ac:spMkLst>
            <pc:docMk/>
            <pc:sldMk cId="3658727067" sldId="1492"/>
            <ac:spMk id="6" creationId="{CF0EA105-9113-1D27-14DD-29295F5F2B3F}"/>
          </ac:spMkLst>
        </pc:spChg>
      </pc:sldChg>
      <pc:sldChg chg="modSp ord">
        <pc:chgData name="Krishna Sharma" userId="daa697d5-8440-4694-9c7d-792884c08b9c" providerId="ADAL" clId="{C5F3E3DB-464F-4B95-9A21-49385C74D1A0}" dt="2025-06-10T06:46:00.213" v="411"/>
        <pc:sldMkLst>
          <pc:docMk/>
          <pc:sldMk cId="1158807392" sldId="1493"/>
        </pc:sldMkLst>
        <pc:spChg chg="mod">
          <ac:chgData name="Krishna Sharma" userId="daa697d5-8440-4694-9c7d-792884c08b9c" providerId="ADAL" clId="{C5F3E3DB-464F-4B95-9A21-49385C74D1A0}" dt="2025-06-10T06:46:00.213" v="411"/>
          <ac:spMkLst>
            <pc:docMk/>
            <pc:sldMk cId="1158807392" sldId="1493"/>
            <ac:spMk id="4" creationId="{8AA812B8-C44C-448A-0B6B-3FF3C26BDD67}"/>
          </ac:spMkLst>
        </pc:spChg>
      </pc:sldChg>
      <pc:sldChg chg="modSp ord">
        <pc:chgData name="Krishna Sharma" userId="daa697d5-8440-4694-9c7d-792884c08b9c" providerId="ADAL" clId="{C5F3E3DB-464F-4B95-9A21-49385C74D1A0}" dt="2025-06-10T06:46:07.719" v="414"/>
        <pc:sldMkLst>
          <pc:docMk/>
          <pc:sldMk cId="604848690" sldId="1494"/>
        </pc:sldMkLst>
        <pc:spChg chg="mod">
          <ac:chgData name="Krishna Sharma" userId="daa697d5-8440-4694-9c7d-792884c08b9c" providerId="ADAL" clId="{C5F3E3DB-464F-4B95-9A21-49385C74D1A0}" dt="2025-06-10T06:46:07.719" v="414"/>
          <ac:spMkLst>
            <pc:docMk/>
            <pc:sldMk cId="604848690" sldId="1494"/>
            <ac:spMk id="4" creationId="{D252D667-7E28-39BE-43B3-0D88CCB4D461}"/>
          </ac:spMkLst>
        </pc:spChg>
      </pc:sldChg>
      <pc:sldChg chg="modSp ord">
        <pc:chgData name="Krishna Sharma" userId="daa697d5-8440-4694-9c7d-792884c08b9c" providerId="ADAL" clId="{C5F3E3DB-464F-4B95-9A21-49385C74D1A0}" dt="2025-06-10T06:46:10.673" v="415"/>
        <pc:sldMkLst>
          <pc:docMk/>
          <pc:sldMk cId="1130605282" sldId="1495"/>
        </pc:sldMkLst>
        <pc:spChg chg="mod">
          <ac:chgData name="Krishna Sharma" userId="daa697d5-8440-4694-9c7d-792884c08b9c" providerId="ADAL" clId="{C5F3E3DB-464F-4B95-9A21-49385C74D1A0}" dt="2025-06-10T06:46:10.673" v="415"/>
          <ac:spMkLst>
            <pc:docMk/>
            <pc:sldMk cId="1130605282" sldId="1495"/>
            <ac:spMk id="4" creationId="{AB1B09F4-670E-2065-8DCE-5E2556A08FF3}"/>
          </ac:spMkLst>
        </pc:spChg>
      </pc:sldChg>
      <pc:sldChg chg="modSp ord">
        <pc:chgData name="Krishna Sharma" userId="daa697d5-8440-4694-9c7d-792884c08b9c" providerId="ADAL" clId="{C5F3E3DB-464F-4B95-9A21-49385C74D1A0}" dt="2025-06-10T06:46:18.167" v="417"/>
        <pc:sldMkLst>
          <pc:docMk/>
          <pc:sldMk cId="1523651696" sldId="1496"/>
        </pc:sldMkLst>
        <pc:spChg chg="mod">
          <ac:chgData name="Krishna Sharma" userId="daa697d5-8440-4694-9c7d-792884c08b9c" providerId="ADAL" clId="{C5F3E3DB-464F-4B95-9A21-49385C74D1A0}" dt="2025-06-10T06:46:18.167" v="417"/>
          <ac:spMkLst>
            <pc:docMk/>
            <pc:sldMk cId="1523651696" sldId="1496"/>
            <ac:spMk id="4" creationId="{80DC977F-FCC4-D0B6-6633-2928D3253942}"/>
          </ac:spMkLst>
        </pc:spChg>
      </pc:sldChg>
      <pc:sldChg chg="modSp ord">
        <pc:chgData name="Krishna Sharma" userId="daa697d5-8440-4694-9c7d-792884c08b9c" providerId="ADAL" clId="{C5F3E3DB-464F-4B95-9A21-49385C74D1A0}" dt="2025-06-10T06:46:04.306" v="413"/>
        <pc:sldMkLst>
          <pc:docMk/>
          <pc:sldMk cId="2417004778" sldId="1498"/>
        </pc:sldMkLst>
        <pc:spChg chg="mod">
          <ac:chgData name="Krishna Sharma" userId="daa697d5-8440-4694-9c7d-792884c08b9c" providerId="ADAL" clId="{C5F3E3DB-464F-4B95-9A21-49385C74D1A0}" dt="2025-06-10T06:46:04.306" v="413"/>
          <ac:spMkLst>
            <pc:docMk/>
            <pc:sldMk cId="2417004778" sldId="1498"/>
            <ac:spMk id="4" creationId="{09376B7E-263D-961C-7AA5-E21A73B6063C}"/>
          </ac:spMkLst>
        </pc:spChg>
      </pc:sldChg>
      <pc:sldChg chg="modSp mod ord">
        <pc:chgData name="Krishna Sharma" userId="daa697d5-8440-4694-9c7d-792884c08b9c" providerId="ADAL" clId="{C5F3E3DB-464F-4B95-9A21-49385C74D1A0}" dt="2025-06-10T09:19:04.522" v="1044" actId="1038"/>
        <pc:sldMkLst>
          <pc:docMk/>
          <pc:sldMk cId="88185852" sldId="1499"/>
        </pc:sldMkLst>
        <pc:spChg chg="mod">
          <ac:chgData name="Krishna Sharma" userId="daa697d5-8440-4694-9c7d-792884c08b9c" providerId="ADAL" clId="{C5F3E3DB-464F-4B95-9A21-49385C74D1A0}" dt="2025-06-10T06:45:53.100" v="409"/>
          <ac:spMkLst>
            <pc:docMk/>
            <pc:sldMk cId="88185852" sldId="1499"/>
            <ac:spMk id="4" creationId="{356DDFF9-85DC-DFF7-7DEA-75B5CD305BE8}"/>
          </ac:spMkLst>
        </pc:spChg>
      </pc:sldChg>
      <pc:sldChg chg="modSp ord">
        <pc:chgData name="Krishna Sharma" userId="daa697d5-8440-4694-9c7d-792884c08b9c" providerId="ADAL" clId="{C5F3E3DB-464F-4B95-9A21-49385C74D1A0}" dt="2025-06-10T06:46:02.258" v="412"/>
        <pc:sldMkLst>
          <pc:docMk/>
          <pc:sldMk cId="1739768020" sldId="1500"/>
        </pc:sldMkLst>
        <pc:spChg chg="mod">
          <ac:chgData name="Krishna Sharma" userId="daa697d5-8440-4694-9c7d-792884c08b9c" providerId="ADAL" clId="{C5F3E3DB-464F-4B95-9A21-49385C74D1A0}" dt="2025-06-10T06:46:02.258" v="412"/>
          <ac:spMkLst>
            <pc:docMk/>
            <pc:sldMk cId="1739768020" sldId="1500"/>
            <ac:spMk id="4" creationId="{2150BA5A-E5E3-AB98-617D-E1F4156ACC14}"/>
          </ac:spMkLst>
        </pc:spChg>
      </pc:sldChg>
      <pc:sldChg chg="modSp ord">
        <pc:chgData name="Krishna Sharma" userId="daa697d5-8440-4694-9c7d-792884c08b9c" providerId="ADAL" clId="{C5F3E3DB-464F-4B95-9A21-49385C74D1A0}" dt="2025-06-10T06:46:13.269" v="416"/>
        <pc:sldMkLst>
          <pc:docMk/>
          <pc:sldMk cId="740212731" sldId="1501"/>
        </pc:sldMkLst>
        <pc:spChg chg="mod">
          <ac:chgData name="Krishna Sharma" userId="daa697d5-8440-4694-9c7d-792884c08b9c" providerId="ADAL" clId="{C5F3E3DB-464F-4B95-9A21-49385C74D1A0}" dt="2025-06-10T06:46:13.269" v="416"/>
          <ac:spMkLst>
            <pc:docMk/>
            <pc:sldMk cId="740212731" sldId="1501"/>
            <ac:spMk id="4" creationId="{DBD08970-DD04-C20F-67FD-B7628756FC3D}"/>
          </ac:spMkLst>
        </pc:spChg>
      </pc:sldChg>
      <pc:sldChg chg="modSp ord">
        <pc:chgData name="Krishna Sharma" userId="daa697d5-8440-4694-9c7d-792884c08b9c" providerId="ADAL" clId="{C5F3E3DB-464F-4B95-9A21-49385C74D1A0}" dt="2025-06-10T06:46:22.964" v="418"/>
        <pc:sldMkLst>
          <pc:docMk/>
          <pc:sldMk cId="3432880316" sldId="1502"/>
        </pc:sldMkLst>
        <pc:spChg chg="mod">
          <ac:chgData name="Krishna Sharma" userId="daa697d5-8440-4694-9c7d-792884c08b9c" providerId="ADAL" clId="{C5F3E3DB-464F-4B95-9A21-49385C74D1A0}" dt="2025-06-10T06:46:22.964" v="418"/>
          <ac:spMkLst>
            <pc:docMk/>
            <pc:sldMk cId="3432880316" sldId="1502"/>
            <ac:spMk id="4" creationId="{47AF35CA-D693-CA6A-1EB5-92610439C86B}"/>
          </ac:spMkLst>
        </pc:spChg>
      </pc:sldChg>
      <pc:sldChg chg="modSp del ord">
        <pc:chgData name="Krishna Sharma" userId="daa697d5-8440-4694-9c7d-792884c08b9c" providerId="ADAL" clId="{C5F3E3DB-464F-4B95-9A21-49385C74D1A0}" dt="2025-06-10T07:37:52.304" v="818" actId="47"/>
        <pc:sldMkLst>
          <pc:docMk/>
          <pc:sldMk cId="1746005339" sldId="1503"/>
        </pc:sldMkLst>
      </pc:sldChg>
      <pc:sldChg chg="modSp ord">
        <pc:chgData name="Krishna Sharma" userId="daa697d5-8440-4694-9c7d-792884c08b9c" providerId="ADAL" clId="{C5F3E3DB-464F-4B95-9A21-49385C74D1A0}" dt="2025-06-10T06:55:07.588" v="473"/>
        <pc:sldMkLst>
          <pc:docMk/>
          <pc:sldMk cId="3370607659" sldId="1504"/>
        </pc:sldMkLst>
        <pc:spChg chg="mod">
          <ac:chgData name="Krishna Sharma" userId="daa697d5-8440-4694-9c7d-792884c08b9c" providerId="ADAL" clId="{C5F3E3DB-464F-4B95-9A21-49385C74D1A0}" dt="2025-06-10T06:55:07.588" v="473"/>
          <ac:spMkLst>
            <pc:docMk/>
            <pc:sldMk cId="3370607659" sldId="1504"/>
            <ac:spMk id="24" creationId="{D33B4DC9-ABCC-87C4-386C-6264CB54C227}"/>
          </ac:spMkLst>
        </pc:spChg>
      </pc:sldChg>
      <pc:sldChg chg="modSp mod ord">
        <pc:chgData name="Krishna Sharma" userId="daa697d5-8440-4694-9c7d-792884c08b9c" providerId="ADAL" clId="{C5F3E3DB-464F-4B95-9A21-49385C74D1A0}" dt="2025-06-10T06:55:23.204" v="477"/>
        <pc:sldMkLst>
          <pc:docMk/>
          <pc:sldMk cId="2490475139" sldId="1505"/>
        </pc:sldMkLst>
        <pc:spChg chg="mod">
          <ac:chgData name="Krishna Sharma" userId="daa697d5-8440-4694-9c7d-792884c08b9c" providerId="ADAL" clId="{C5F3E3DB-464F-4B95-9A21-49385C74D1A0}" dt="2025-06-10T06:55:23.204" v="477"/>
          <ac:spMkLst>
            <pc:docMk/>
            <pc:sldMk cId="2490475139" sldId="1505"/>
            <ac:spMk id="4" creationId="{D35D55C6-6CCF-3A3F-3321-6DF8B4411BD5}"/>
          </ac:spMkLst>
        </pc:spChg>
        <pc:spChg chg="mod">
          <ac:chgData name="Krishna Sharma" userId="daa697d5-8440-4694-9c7d-792884c08b9c" providerId="ADAL" clId="{C5F3E3DB-464F-4B95-9A21-49385C74D1A0}" dt="2025-06-10T06:14:06.908" v="170" actId="2711"/>
          <ac:spMkLst>
            <pc:docMk/>
            <pc:sldMk cId="2490475139" sldId="1505"/>
            <ac:spMk id="8" creationId="{47747E2B-1626-9959-A4B4-E9E1A1EC3CD2}"/>
          </ac:spMkLst>
        </pc:spChg>
        <pc:spChg chg="mod">
          <ac:chgData name="Krishna Sharma" userId="daa697d5-8440-4694-9c7d-792884c08b9c" providerId="ADAL" clId="{C5F3E3DB-464F-4B95-9A21-49385C74D1A0}" dt="2025-06-10T06:14:06.908" v="170" actId="2711"/>
          <ac:spMkLst>
            <pc:docMk/>
            <pc:sldMk cId="2490475139" sldId="1505"/>
            <ac:spMk id="39" creationId="{772CA891-2104-6DBB-20A6-378E089EE3A7}"/>
          </ac:spMkLst>
        </pc:spChg>
        <pc:spChg chg="mod">
          <ac:chgData name="Krishna Sharma" userId="daa697d5-8440-4694-9c7d-792884c08b9c" providerId="ADAL" clId="{C5F3E3DB-464F-4B95-9A21-49385C74D1A0}" dt="2025-06-10T06:14:06.908" v="170" actId="2711"/>
          <ac:spMkLst>
            <pc:docMk/>
            <pc:sldMk cId="2490475139" sldId="1505"/>
            <ac:spMk id="40" creationId="{F6C4A6B5-B578-93E0-F319-F5C333100C1B}"/>
          </ac:spMkLst>
        </pc:spChg>
        <pc:spChg chg="mod">
          <ac:chgData name="Krishna Sharma" userId="daa697d5-8440-4694-9c7d-792884c08b9c" providerId="ADAL" clId="{C5F3E3DB-464F-4B95-9A21-49385C74D1A0}" dt="2025-06-10T06:14:06.908" v="170" actId="2711"/>
          <ac:spMkLst>
            <pc:docMk/>
            <pc:sldMk cId="2490475139" sldId="1505"/>
            <ac:spMk id="41" creationId="{7C47AE17-1505-E860-DAA2-FE3365AC34FF}"/>
          </ac:spMkLst>
        </pc:spChg>
        <pc:spChg chg="mod">
          <ac:chgData name="Krishna Sharma" userId="daa697d5-8440-4694-9c7d-792884c08b9c" providerId="ADAL" clId="{C5F3E3DB-464F-4B95-9A21-49385C74D1A0}" dt="2025-06-10T06:14:06.908" v="170" actId="2711"/>
          <ac:spMkLst>
            <pc:docMk/>
            <pc:sldMk cId="2490475139" sldId="1505"/>
            <ac:spMk id="43" creationId="{8F1909F1-60C5-3515-8CEC-0C2AB1412AEA}"/>
          </ac:spMkLst>
        </pc:spChg>
        <pc:spChg chg="mod">
          <ac:chgData name="Krishna Sharma" userId="daa697d5-8440-4694-9c7d-792884c08b9c" providerId="ADAL" clId="{C5F3E3DB-464F-4B95-9A21-49385C74D1A0}" dt="2025-06-10T06:14:06.908" v="170" actId="2711"/>
          <ac:spMkLst>
            <pc:docMk/>
            <pc:sldMk cId="2490475139" sldId="1505"/>
            <ac:spMk id="44" creationId="{0976656F-D64B-DDF3-C64F-B31A1F35FBD4}"/>
          </ac:spMkLst>
        </pc:spChg>
        <pc:spChg chg="mod">
          <ac:chgData name="Krishna Sharma" userId="daa697d5-8440-4694-9c7d-792884c08b9c" providerId="ADAL" clId="{C5F3E3DB-464F-4B95-9A21-49385C74D1A0}" dt="2025-06-10T06:14:06.908" v="170" actId="2711"/>
          <ac:spMkLst>
            <pc:docMk/>
            <pc:sldMk cId="2490475139" sldId="1505"/>
            <ac:spMk id="45" creationId="{2EC0FFEF-C85D-500C-08B7-CE0E52DFE428}"/>
          </ac:spMkLst>
        </pc:spChg>
      </pc:sldChg>
      <pc:sldChg chg="delSp modSp add mod">
        <pc:chgData name="Krishna Sharma" userId="daa697d5-8440-4694-9c7d-792884c08b9c" providerId="ADAL" clId="{C5F3E3DB-464F-4B95-9A21-49385C74D1A0}" dt="2025-06-10T07:26:02.870" v="757" actId="1076"/>
        <pc:sldMkLst>
          <pc:docMk/>
          <pc:sldMk cId="162605456" sldId="1506"/>
        </pc:sldMkLst>
        <pc:spChg chg="mod">
          <ac:chgData name="Krishna Sharma" userId="daa697d5-8440-4694-9c7d-792884c08b9c" providerId="ADAL" clId="{C5F3E3DB-464F-4B95-9A21-49385C74D1A0}" dt="2025-06-10T06:30:19.464" v="271" actId="14100"/>
          <ac:spMkLst>
            <pc:docMk/>
            <pc:sldMk cId="162605456" sldId="1506"/>
            <ac:spMk id="2" creationId="{CCD815C0-127D-E569-71E5-21FC5551C5C4}"/>
          </ac:spMkLst>
        </pc:spChg>
      </pc:sldChg>
      <pc:sldChg chg="modSp add mod">
        <pc:chgData name="Krishna Sharma" userId="daa697d5-8440-4694-9c7d-792884c08b9c" providerId="ADAL" clId="{C5F3E3DB-464F-4B95-9A21-49385C74D1A0}" dt="2025-06-10T06:46:28.118" v="419"/>
        <pc:sldMkLst>
          <pc:docMk/>
          <pc:sldMk cId="4200326097" sldId="1507"/>
        </pc:sldMkLst>
        <pc:spChg chg="mod">
          <ac:chgData name="Krishna Sharma" userId="daa697d5-8440-4694-9c7d-792884c08b9c" providerId="ADAL" clId="{C5F3E3DB-464F-4B95-9A21-49385C74D1A0}" dt="2025-06-10T06:42:06.105" v="392" actId="20577"/>
          <ac:spMkLst>
            <pc:docMk/>
            <pc:sldMk cId="4200326097" sldId="1507"/>
            <ac:spMk id="3" creationId="{2E207A2D-CA36-02D5-8547-4C65D1211EA7}"/>
          </ac:spMkLst>
        </pc:spChg>
        <pc:spChg chg="mod">
          <ac:chgData name="Krishna Sharma" userId="daa697d5-8440-4694-9c7d-792884c08b9c" providerId="ADAL" clId="{C5F3E3DB-464F-4B95-9A21-49385C74D1A0}" dt="2025-06-10T06:46:28.118" v="419"/>
          <ac:spMkLst>
            <pc:docMk/>
            <pc:sldMk cId="4200326097" sldId="1507"/>
            <ac:spMk id="8" creationId="{FCF98C08-CA6D-45AA-851C-0B9B0EFC6256}"/>
          </ac:spMkLst>
        </pc:spChg>
      </pc:sldChg>
      <pc:sldChg chg="modSp add mod">
        <pc:chgData name="Krishna Sharma" userId="daa697d5-8440-4694-9c7d-792884c08b9c" providerId="ADAL" clId="{C5F3E3DB-464F-4B95-9A21-49385C74D1A0}" dt="2025-06-10T06:48:35.097" v="440"/>
        <pc:sldMkLst>
          <pc:docMk/>
          <pc:sldMk cId="2849670523" sldId="1508"/>
        </pc:sldMkLst>
        <pc:spChg chg="mod">
          <ac:chgData name="Krishna Sharma" userId="daa697d5-8440-4694-9c7d-792884c08b9c" providerId="ADAL" clId="{C5F3E3DB-464F-4B95-9A21-49385C74D1A0}" dt="2025-06-10T06:48:35.097" v="440"/>
          <ac:spMkLst>
            <pc:docMk/>
            <pc:sldMk cId="2849670523" sldId="1508"/>
            <ac:spMk id="3" creationId="{345E6D5A-BE4E-8F2B-D089-D2552B187793}"/>
          </ac:spMkLst>
        </pc:spChg>
        <pc:spChg chg="mod">
          <ac:chgData name="Krishna Sharma" userId="daa697d5-8440-4694-9c7d-792884c08b9c" providerId="ADAL" clId="{C5F3E3DB-464F-4B95-9A21-49385C74D1A0}" dt="2025-06-10T06:46:31.754" v="420"/>
          <ac:spMkLst>
            <pc:docMk/>
            <pc:sldMk cId="2849670523" sldId="1508"/>
            <ac:spMk id="8" creationId="{A691A082-6643-8519-6DAD-D93FDDE3EE15}"/>
          </ac:spMkLst>
        </pc:spChg>
      </pc:sldChg>
      <pc:sldChg chg="addSp delSp modSp add mod">
        <pc:chgData name="Krishna Sharma" userId="daa697d5-8440-4694-9c7d-792884c08b9c" providerId="ADAL" clId="{C5F3E3DB-464F-4B95-9A21-49385C74D1A0}" dt="2025-06-10T06:54:45.635" v="469" actId="14100"/>
        <pc:sldMkLst>
          <pc:docMk/>
          <pc:sldMk cId="3142948251" sldId="1509"/>
        </pc:sldMkLst>
        <pc:spChg chg="mod">
          <ac:chgData name="Krishna Sharma" userId="daa697d5-8440-4694-9c7d-792884c08b9c" providerId="ADAL" clId="{C5F3E3DB-464F-4B95-9A21-49385C74D1A0}" dt="2025-06-10T06:54:45.635" v="469" actId="14100"/>
          <ac:spMkLst>
            <pc:docMk/>
            <pc:sldMk cId="3142948251" sldId="1509"/>
            <ac:spMk id="2" creationId="{08D58D26-850D-9B2F-F471-B0B9B79AC494}"/>
          </ac:spMkLst>
        </pc:spChg>
        <pc:spChg chg="mod">
          <ac:chgData name="Krishna Sharma" userId="daa697d5-8440-4694-9c7d-792884c08b9c" providerId="ADAL" clId="{C5F3E3DB-464F-4B95-9A21-49385C74D1A0}" dt="2025-06-10T06:46:41.239" v="421"/>
          <ac:spMkLst>
            <pc:docMk/>
            <pc:sldMk cId="3142948251" sldId="1509"/>
            <ac:spMk id="6" creationId="{CF605357-B1B8-075A-D2EC-A883FFB0C611}"/>
          </ac:spMkLst>
        </pc:spChg>
      </pc:sldChg>
      <pc:sldChg chg="modSp add mod">
        <pc:chgData name="Krishna Sharma" userId="daa697d5-8440-4694-9c7d-792884c08b9c" providerId="ADAL" clId="{C5F3E3DB-464F-4B95-9A21-49385C74D1A0}" dt="2025-06-10T08:53:36.864" v="844"/>
        <pc:sldMkLst>
          <pc:docMk/>
          <pc:sldMk cId="565224556" sldId="1510"/>
        </pc:sldMkLst>
        <pc:spChg chg="mod">
          <ac:chgData name="Krishna Sharma" userId="daa697d5-8440-4694-9c7d-792884c08b9c" providerId="ADAL" clId="{C5F3E3DB-464F-4B95-9A21-49385C74D1A0}" dt="2025-06-10T08:53:31.617" v="843" actId="14100"/>
          <ac:spMkLst>
            <pc:docMk/>
            <pc:sldMk cId="565224556" sldId="1510"/>
            <ac:spMk id="2" creationId="{1B5936FD-1434-8810-7AD4-09AF7C1B2FE1}"/>
          </ac:spMkLst>
        </pc:spChg>
        <pc:spChg chg="mod">
          <ac:chgData name="Krishna Sharma" userId="daa697d5-8440-4694-9c7d-792884c08b9c" providerId="ADAL" clId="{C5F3E3DB-464F-4B95-9A21-49385C74D1A0}" dt="2025-06-10T08:53:36.864" v="844"/>
          <ac:spMkLst>
            <pc:docMk/>
            <pc:sldMk cId="565224556" sldId="1510"/>
            <ac:spMk id="6" creationId="{95158ED6-3275-7ACA-831E-E7DABFFEA9B9}"/>
          </ac:spMkLst>
        </pc:spChg>
      </pc:sldChg>
    </pc:docChg>
  </pc:docChgLst>
  <pc:docChgLst>
    <pc:chgData name="Krishna Sharma" userId="daa697d5-8440-4694-9c7d-792884c08b9c" providerId="ADAL" clId="{D157C74D-6770-4162-923A-0869CD383CFA}"/>
    <pc:docChg chg="undo redo custSel addSld delSld modSld sldOrd modSection">
      <pc:chgData name="Krishna Sharma" userId="daa697d5-8440-4694-9c7d-792884c08b9c" providerId="ADAL" clId="{D157C74D-6770-4162-923A-0869CD383CFA}" dt="2025-06-10T04:42:43.059" v="1988" actId="14100"/>
      <pc:docMkLst>
        <pc:docMk/>
      </pc:docMkLst>
      <pc:sldChg chg="modSp mod modCm">
        <pc:chgData name="Krishna Sharma" userId="daa697d5-8440-4694-9c7d-792884c08b9c" providerId="ADAL" clId="{D157C74D-6770-4162-923A-0869CD383CFA}" dt="2025-06-09T06:24:03.610" v="11"/>
        <pc:sldMkLst>
          <pc:docMk/>
          <pc:sldMk cId="1725199093" sldId="127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rishna Sharma" userId="daa697d5-8440-4694-9c7d-792884c08b9c" providerId="ADAL" clId="{D157C74D-6770-4162-923A-0869CD383CFA}" dt="2025-06-09T06:23:42.832" v="10" actId="20577"/>
              <pc2:cmMkLst xmlns:pc2="http://schemas.microsoft.com/office/powerpoint/2019/9/main/command">
                <pc:docMk/>
                <pc:sldMk cId="1725199093" sldId="1274"/>
                <pc2:cmMk id="{B473797A-88F2-4BAB-A216-2BEC78901EF2}"/>
              </pc2:cmMkLst>
            </pc226:cmChg>
          </p:ext>
        </pc:extLst>
      </pc:sldChg>
      <pc:sldChg chg="modSp mod">
        <pc:chgData name="Krishna Sharma" userId="daa697d5-8440-4694-9c7d-792884c08b9c" providerId="ADAL" clId="{D157C74D-6770-4162-923A-0869CD383CFA}" dt="2025-06-09T06:32:35.668" v="82" actId="14100"/>
        <pc:sldMkLst>
          <pc:docMk/>
          <pc:sldMk cId="1699660927" sldId="1276"/>
        </pc:sldMkLst>
      </pc:sldChg>
      <pc:sldChg chg="add del">
        <pc:chgData name="Krishna Sharma" userId="daa697d5-8440-4694-9c7d-792884c08b9c" providerId="ADAL" clId="{D157C74D-6770-4162-923A-0869CD383CFA}" dt="2025-06-09T06:32:34.558" v="79" actId="2696"/>
        <pc:sldMkLst>
          <pc:docMk/>
          <pc:sldMk cId="2775345386" sldId="1277"/>
        </pc:sldMkLst>
      </pc:sldChg>
      <pc:sldChg chg="add del">
        <pc:chgData name="Krishna Sharma" userId="daa697d5-8440-4694-9c7d-792884c08b9c" providerId="ADAL" clId="{D157C74D-6770-4162-923A-0869CD383CFA}" dt="2025-06-09T06:32:34.763" v="80" actId="2696"/>
        <pc:sldMkLst>
          <pc:docMk/>
          <pc:sldMk cId="4049070673" sldId="1279"/>
        </pc:sldMkLst>
      </pc:sldChg>
      <pc:sldChg chg="addSp delSp modSp del mod">
        <pc:chgData name="Krishna Sharma" userId="daa697d5-8440-4694-9c7d-792884c08b9c" providerId="ADAL" clId="{D157C74D-6770-4162-923A-0869CD383CFA}" dt="2025-06-09T06:32:45.707" v="95" actId="47"/>
        <pc:sldMkLst>
          <pc:docMk/>
          <pc:sldMk cId="3890595361" sldId="1282"/>
        </pc:sldMkLst>
      </pc:sldChg>
      <pc:sldChg chg="modSp mod">
        <pc:chgData name="Krishna Sharma" userId="daa697d5-8440-4694-9c7d-792884c08b9c" providerId="ADAL" clId="{D157C74D-6770-4162-923A-0869CD383CFA}" dt="2025-06-09T06:42:00.331" v="264" actId="1035"/>
        <pc:sldMkLst>
          <pc:docMk/>
          <pc:sldMk cId="4195937019" sldId="1283"/>
        </pc:sldMkLst>
        <pc:spChg chg="mod">
          <ac:chgData name="Krishna Sharma" userId="daa697d5-8440-4694-9c7d-792884c08b9c" providerId="ADAL" clId="{D157C74D-6770-4162-923A-0869CD383CFA}" dt="2025-06-09T06:41:47.950" v="232" actId="20577"/>
          <ac:spMkLst>
            <pc:docMk/>
            <pc:sldMk cId="4195937019" sldId="1283"/>
            <ac:spMk id="2" creationId="{742E63C4-5843-AB38-C847-430624D55520}"/>
          </ac:spMkLst>
        </pc:spChg>
        <pc:spChg chg="mod">
          <ac:chgData name="Krishna Sharma" userId="daa697d5-8440-4694-9c7d-792884c08b9c" providerId="ADAL" clId="{D157C74D-6770-4162-923A-0869CD383CFA}" dt="2025-06-09T06:42:00.331" v="264" actId="1035"/>
          <ac:spMkLst>
            <pc:docMk/>
            <pc:sldMk cId="4195937019" sldId="1283"/>
            <ac:spMk id="3" creationId="{7161117F-C4BA-5D48-403A-58D949CEE7FB}"/>
          </ac:spMkLst>
        </pc:spChg>
        <pc:picChg chg="mod">
          <ac:chgData name="Krishna Sharma" userId="daa697d5-8440-4694-9c7d-792884c08b9c" providerId="ADAL" clId="{D157C74D-6770-4162-923A-0869CD383CFA}" dt="2025-06-09T06:32:36.847" v="86" actId="1038"/>
          <ac:picMkLst>
            <pc:docMk/>
            <pc:sldMk cId="4195937019" sldId="1283"/>
            <ac:picMk id="12" creationId="{EBBB47C9-AAF2-D7C8-42A5-7114B700E216}"/>
          </ac:picMkLst>
        </pc:picChg>
      </pc:sldChg>
      <pc:sldChg chg="addSp delSp modSp mod ord">
        <pc:chgData name="Krishna Sharma" userId="daa697d5-8440-4694-9c7d-792884c08b9c" providerId="ADAL" clId="{D157C74D-6770-4162-923A-0869CD383CFA}" dt="2025-06-09T10:28:12.908" v="1253" actId="20577"/>
        <pc:sldMkLst>
          <pc:docMk/>
          <pc:sldMk cId="90865873" sldId="1284"/>
        </pc:sldMkLst>
        <pc:spChg chg="mod">
          <ac:chgData name="Krishna Sharma" userId="daa697d5-8440-4694-9c7d-792884c08b9c" providerId="ADAL" clId="{D157C74D-6770-4162-923A-0869CD383CFA}" dt="2025-06-09T10:28:12.908" v="1253" actId="20577"/>
          <ac:spMkLst>
            <pc:docMk/>
            <pc:sldMk cId="90865873" sldId="1284"/>
            <ac:spMk id="2" creationId="{A0F0D5A5-9665-03B2-0069-6FD6E60CF2E2}"/>
          </ac:spMkLst>
        </pc:spChg>
        <pc:spChg chg="mod">
          <ac:chgData name="Krishna Sharma" userId="daa697d5-8440-4694-9c7d-792884c08b9c" providerId="ADAL" clId="{D157C74D-6770-4162-923A-0869CD383CFA}" dt="2025-06-09T07:04:03.430" v="500"/>
          <ac:spMkLst>
            <pc:docMk/>
            <pc:sldMk cId="90865873" sldId="1284"/>
            <ac:spMk id="11" creationId="{1873593B-844F-1B86-5DBF-022258D03508}"/>
          </ac:spMkLst>
        </pc:spChg>
      </pc:sldChg>
      <pc:sldChg chg="addSp delSp modSp mod modShow">
        <pc:chgData name="Krishna Sharma" userId="daa697d5-8440-4694-9c7d-792884c08b9c" providerId="ADAL" clId="{D157C74D-6770-4162-923A-0869CD383CFA}" dt="2025-06-09T07:50:02.535" v="969" actId="729"/>
        <pc:sldMkLst>
          <pc:docMk/>
          <pc:sldMk cId="132603118" sldId="1285"/>
        </pc:sldMkLst>
      </pc:sldChg>
      <pc:sldChg chg="addSp delSp modSp mod">
        <pc:chgData name="Krishna Sharma" userId="daa697d5-8440-4694-9c7d-792884c08b9c" providerId="ADAL" clId="{D157C74D-6770-4162-923A-0869CD383CFA}" dt="2025-06-09T07:12:09.698" v="597" actId="1036"/>
        <pc:sldMkLst>
          <pc:docMk/>
          <pc:sldMk cId="596106588" sldId="1287"/>
        </pc:sldMkLst>
        <pc:spChg chg="mod">
          <ac:chgData name="Krishna Sharma" userId="daa697d5-8440-4694-9c7d-792884c08b9c" providerId="ADAL" clId="{D157C74D-6770-4162-923A-0869CD383CFA}" dt="2025-06-09T07:07:32.332" v="561" actId="6549"/>
          <ac:spMkLst>
            <pc:docMk/>
            <pc:sldMk cId="596106588" sldId="1287"/>
            <ac:spMk id="2" creationId="{15E3B3A6-D6C0-A52D-127A-B2F76C51502C}"/>
          </ac:spMkLst>
        </pc:spChg>
        <pc:spChg chg="add mod">
          <ac:chgData name="Krishna Sharma" userId="daa697d5-8440-4694-9c7d-792884c08b9c" providerId="ADAL" clId="{D157C74D-6770-4162-923A-0869CD383CFA}" dt="2025-06-09T07:12:09.698" v="597" actId="1036"/>
          <ac:spMkLst>
            <pc:docMk/>
            <pc:sldMk cId="596106588" sldId="1287"/>
            <ac:spMk id="6" creationId="{7D89F09E-81A3-F6FF-4864-BA6C84D5D1F2}"/>
          </ac:spMkLst>
        </pc:spChg>
        <pc:spChg chg="add mod">
          <ac:chgData name="Krishna Sharma" userId="daa697d5-8440-4694-9c7d-792884c08b9c" providerId="ADAL" clId="{D157C74D-6770-4162-923A-0869CD383CFA}" dt="2025-06-09T07:12:09.698" v="597" actId="1036"/>
          <ac:spMkLst>
            <pc:docMk/>
            <pc:sldMk cId="596106588" sldId="1287"/>
            <ac:spMk id="9" creationId="{B1D4C2F4-6ECE-51FF-86A7-89F9277BF4F7}"/>
          </ac:spMkLst>
        </pc:spChg>
      </pc:sldChg>
      <pc:sldChg chg="addSp delSp modSp mod">
        <pc:chgData name="Krishna Sharma" userId="daa697d5-8440-4694-9c7d-792884c08b9c" providerId="ADAL" clId="{D157C74D-6770-4162-923A-0869CD383CFA}" dt="2025-06-09T07:53:58.154" v="1009"/>
        <pc:sldMkLst>
          <pc:docMk/>
          <pc:sldMk cId="2250755200" sldId="1289"/>
        </pc:sldMkLst>
        <pc:spChg chg="mod">
          <ac:chgData name="Krishna Sharma" userId="daa697d5-8440-4694-9c7d-792884c08b9c" providerId="ADAL" clId="{D157C74D-6770-4162-923A-0869CD383CFA}" dt="2025-06-09T07:42:22.308" v="878" actId="1036"/>
          <ac:spMkLst>
            <pc:docMk/>
            <pc:sldMk cId="2250755200" sldId="1289"/>
            <ac:spMk id="2" creationId="{15A34ECB-C0A2-44A5-549A-CFA73745F49F}"/>
          </ac:spMkLst>
        </pc:spChg>
        <pc:spChg chg="add mod">
          <ac:chgData name="Krishna Sharma" userId="daa697d5-8440-4694-9c7d-792884c08b9c" providerId="ADAL" clId="{D157C74D-6770-4162-923A-0869CD383CFA}" dt="2025-06-09T07:44:11.183" v="884"/>
          <ac:spMkLst>
            <pc:docMk/>
            <pc:sldMk cId="2250755200" sldId="1289"/>
            <ac:spMk id="4" creationId="{C42115B7-9B82-E62A-777C-94634CC217F5}"/>
          </ac:spMkLst>
        </pc:spChg>
        <pc:spChg chg="add mod">
          <ac:chgData name="Krishna Sharma" userId="daa697d5-8440-4694-9c7d-792884c08b9c" providerId="ADAL" clId="{D157C74D-6770-4162-923A-0869CD383CFA}" dt="2025-06-09T07:44:28.498" v="894" actId="1035"/>
          <ac:spMkLst>
            <pc:docMk/>
            <pc:sldMk cId="2250755200" sldId="1289"/>
            <ac:spMk id="9" creationId="{81E0B57C-7C1A-4F9C-D3AC-AC66C865EC55}"/>
          </ac:spMkLst>
        </pc:spChg>
        <pc:spChg chg="mod">
          <ac:chgData name="Krishna Sharma" userId="daa697d5-8440-4694-9c7d-792884c08b9c" providerId="ADAL" clId="{D157C74D-6770-4162-923A-0869CD383CFA}" dt="2025-06-09T07:53:58.154" v="1009"/>
          <ac:spMkLst>
            <pc:docMk/>
            <pc:sldMk cId="2250755200" sldId="1289"/>
            <ac:spMk id="15" creationId="{5F7BF5C4-E10C-BC40-FBFD-AAFD68561897}"/>
          </ac:spMkLst>
        </pc:spChg>
      </pc:sldChg>
      <pc:sldChg chg="del">
        <pc:chgData name="Krishna Sharma" userId="daa697d5-8440-4694-9c7d-792884c08b9c" providerId="ADAL" clId="{D157C74D-6770-4162-923A-0869CD383CFA}" dt="2025-06-09T07:44:45.996" v="898" actId="47"/>
        <pc:sldMkLst>
          <pc:docMk/>
          <pc:sldMk cId="2666337168" sldId="1290"/>
        </pc:sldMkLst>
      </pc:sldChg>
      <pc:sldChg chg="addSp delSp modSp mod">
        <pc:chgData name="Krishna Sharma" userId="daa697d5-8440-4694-9c7d-792884c08b9c" providerId="ADAL" clId="{D157C74D-6770-4162-923A-0869CD383CFA}" dt="2025-06-09T07:54:04.606" v="1010"/>
        <pc:sldMkLst>
          <pc:docMk/>
          <pc:sldMk cId="741064419" sldId="1292"/>
        </pc:sldMkLst>
        <pc:spChg chg="mod">
          <ac:chgData name="Krishna Sharma" userId="daa697d5-8440-4694-9c7d-792884c08b9c" providerId="ADAL" clId="{D157C74D-6770-4162-923A-0869CD383CFA}" dt="2025-06-09T07:51:37.754" v="986" actId="6549"/>
          <ac:spMkLst>
            <pc:docMk/>
            <pc:sldMk cId="741064419" sldId="1292"/>
            <ac:spMk id="2" creationId="{8DC90BE5-3217-B772-B324-383996836666}"/>
          </ac:spMkLst>
        </pc:spChg>
        <pc:spChg chg="mod">
          <ac:chgData name="Krishna Sharma" userId="daa697d5-8440-4694-9c7d-792884c08b9c" providerId="ADAL" clId="{D157C74D-6770-4162-923A-0869CD383CFA}" dt="2025-06-09T07:54:04.606" v="1010"/>
          <ac:spMkLst>
            <pc:docMk/>
            <pc:sldMk cId="741064419" sldId="1292"/>
            <ac:spMk id="6" creationId="{FE945EE1-DF43-9DD8-9C69-72FD685C1034}"/>
          </ac:spMkLst>
        </pc:spChg>
        <pc:spChg chg="mod">
          <ac:chgData name="Krishna Sharma" userId="daa697d5-8440-4694-9c7d-792884c08b9c" providerId="ADAL" clId="{D157C74D-6770-4162-923A-0869CD383CFA}" dt="2025-06-09T07:51:00.515" v="977"/>
          <ac:spMkLst>
            <pc:docMk/>
            <pc:sldMk cId="741064419" sldId="1292"/>
            <ac:spMk id="12" creationId="{02C78F7F-6A3B-3143-5832-280BA91411F7}"/>
          </ac:spMkLst>
        </pc:spChg>
        <pc:spChg chg="add mod">
          <ac:chgData name="Krishna Sharma" userId="daa697d5-8440-4694-9c7d-792884c08b9c" providerId="ADAL" clId="{D157C74D-6770-4162-923A-0869CD383CFA}" dt="2025-06-09T07:51:27.216" v="984" actId="1076"/>
          <ac:spMkLst>
            <pc:docMk/>
            <pc:sldMk cId="741064419" sldId="1292"/>
            <ac:spMk id="31" creationId="{5989FC5E-B9B4-DAB8-AC47-69F5EEA600A9}"/>
          </ac:spMkLst>
        </pc:spChg>
      </pc:sldChg>
      <pc:sldChg chg="del">
        <pc:chgData name="Krishna Sharma" userId="daa697d5-8440-4694-9c7d-792884c08b9c" providerId="ADAL" clId="{D157C74D-6770-4162-923A-0869CD383CFA}" dt="2025-06-09T07:53:43.501" v="1008" actId="47"/>
        <pc:sldMkLst>
          <pc:docMk/>
          <pc:sldMk cId="4174007023" sldId="1293"/>
        </pc:sldMkLst>
      </pc:sldChg>
      <pc:sldChg chg="modSp mod">
        <pc:chgData name="Krishna Sharma" userId="daa697d5-8440-4694-9c7d-792884c08b9c" providerId="ADAL" clId="{D157C74D-6770-4162-923A-0869CD383CFA}" dt="2025-06-09T09:37:27.337" v="1115"/>
        <pc:sldMkLst>
          <pc:docMk/>
          <pc:sldMk cId="3747822863" sldId="1294"/>
        </pc:sldMkLst>
      </pc:sldChg>
      <pc:sldChg chg="modSp mod modShow">
        <pc:chgData name="Krishna Sharma" userId="daa697d5-8440-4694-9c7d-792884c08b9c" providerId="ADAL" clId="{D157C74D-6770-4162-923A-0869CD383CFA}" dt="2025-06-09T10:29:05.817" v="1257" actId="1036"/>
        <pc:sldMkLst>
          <pc:docMk/>
          <pc:sldMk cId="1938175801" sldId="1295"/>
        </pc:sldMkLst>
        <pc:spChg chg="mod">
          <ac:chgData name="Krishna Sharma" userId="daa697d5-8440-4694-9c7d-792884c08b9c" providerId="ADAL" clId="{D157C74D-6770-4162-923A-0869CD383CFA}" dt="2025-06-09T10:29:05.817" v="1257" actId="1036"/>
          <ac:spMkLst>
            <pc:docMk/>
            <pc:sldMk cId="1938175801" sldId="1295"/>
            <ac:spMk id="2" creationId="{69A78E80-4044-3179-98CB-C9C67231ABD7}"/>
          </ac:spMkLst>
        </pc:spChg>
        <pc:spChg chg="mod">
          <ac:chgData name="Krishna Sharma" userId="daa697d5-8440-4694-9c7d-792884c08b9c" providerId="ADAL" clId="{D157C74D-6770-4162-923A-0869CD383CFA}" dt="2025-06-09T09:37:13.721" v="1109"/>
          <ac:spMkLst>
            <pc:docMk/>
            <pc:sldMk cId="1938175801" sldId="1295"/>
            <ac:spMk id="7" creationId="{9CC6FAE0-4CA0-2B40-1F58-C9AB1CB524BA}"/>
          </ac:spMkLst>
        </pc:spChg>
      </pc:sldChg>
      <pc:sldChg chg="modSp mod">
        <pc:chgData name="Krishna Sharma" userId="daa697d5-8440-4694-9c7d-792884c08b9c" providerId="ADAL" clId="{D157C74D-6770-4162-923A-0869CD383CFA}" dt="2025-06-09T09:37:06.544" v="1107"/>
        <pc:sldMkLst>
          <pc:docMk/>
          <pc:sldMk cId="46537825" sldId="1298"/>
        </pc:sldMkLst>
      </pc:sldChg>
      <pc:sldChg chg="modSp mod">
        <pc:chgData name="Krishna Sharma" userId="daa697d5-8440-4694-9c7d-792884c08b9c" providerId="ADAL" clId="{D157C74D-6770-4162-923A-0869CD383CFA}" dt="2025-06-09T09:37:37.090" v="1118" actId="6549"/>
        <pc:sldMkLst>
          <pc:docMk/>
          <pc:sldMk cId="2362717123" sldId="1301"/>
        </pc:sldMkLst>
        <pc:spChg chg="mod">
          <ac:chgData name="Krishna Sharma" userId="daa697d5-8440-4694-9c7d-792884c08b9c" providerId="ADAL" clId="{D157C74D-6770-4162-923A-0869CD383CFA}" dt="2025-06-09T09:37:37.090" v="1118" actId="6549"/>
          <ac:spMkLst>
            <pc:docMk/>
            <pc:sldMk cId="2362717123" sldId="1301"/>
            <ac:spMk id="2" creationId="{64F9DE22-C787-85C5-25D3-21B8170DAF81}"/>
          </ac:spMkLst>
        </pc:spChg>
        <pc:spChg chg="mod">
          <ac:chgData name="Krishna Sharma" userId="daa697d5-8440-4694-9c7d-792884c08b9c" providerId="ADAL" clId="{D157C74D-6770-4162-923A-0869CD383CFA}" dt="2025-06-09T09:37:33.600" v="1116"/>
          <ac:spMkLst>
            <pc:docMk/>
            <pc:sldMk cId="2362717123" sldId="1301"/>
            <ac:spMk id="24" creationId="{FA5A3589-51B5-B21F-DA61-B9927917F762}"/>
          </ac:spMkLst>
        </pc:spChg>
      </pc:sldChg>
      <pc:sldChg chg="modSp mod">
        <pc:chgData name="Krishna Sharma" userId="daa697d5-8440-4694-9c7d-792884c08b9c" providerId="ADAL" clId="{D157C74D-6770-4162-923A-0869CD383CFA}" dt="2025-06-09T09:38:21.963" v="1122" actId="6549"/>
        <pc:sldMkLst>
          <pc:docMk/>
          <pc:sldMk cId="2474915344" sldId="1302"/>
        </pc:sldMkLst>
      </pc:sldChg>
      <pc:sldChg chg="modSp mod ord">
        <pc:chgData name="Krishna Sharma" userId="daa697d5-8440-4694-9c7d-792884c08b9c" providerId="ADAL" clId="{D157C74D-6770-4162-923A-0869CD383CFA}" dt="2025-06-09T11:03:20.385" v="1325" actId="6549"/>
        <pc:sldMkLst>
          <pc:docMk/>
          <pc:sldMk cId="4153874486" sldId="1305"/>
        </pc:sldMkLst>
      </pc:sldChg>
      <pc:sldChg chg="addSp modSp mod ord">
        <pc:chgData name="Krishna Sharma" userId="daa697d5-8440-4694-9c7d-792884c08b9c" providerId="ADAL" clId="{D157C74D-6770-4162-923A-0869CD383CFA}" dt="2025-06-09T10:41:50.665" v="1259" actId="20577"/>
        <pc:sldMkLst>
          <pc:docMk/>
          <pc:sldMk cId="2735238787" sldId="1306"/>
        </pc:sldMkLst>
      </pc:sldChg>
      <pc:sldChg chg="addSp delSp modSp mod ord">
        <pc:chgData name="Krishna Sharma" userId="daa697d5-8440-4694-9c7d-792884c08b9c" providerId="ADAL" clId="{D157C74D-6770-4162-923A-0869CD383CFA}" dt="2025-06-09T09:46:47.058" v="1191" actId="1036"/>
        <pc:sldMkLst>
          <pc:docMk/>
          <pc:sldMk cId="1169069124" sldId="1307"/>
        </pc:sldMkLst>
        <pc:spChg chg="mod">
          <ac:chgData name="Krishna Sharma" userId="daa697d5-8440-4694-9c7d-792884c08b9c" providerId="ADAL" clId="{D157C74D-6770-4162-923A-0869CD383CFA}" dt="2025-06-09T09:41:13.686" v="1136" actId="1076"/>
          <ac:spMkLst>
            <pc:docMk/>
            <pc:sldMk cId="1169069124" sldId="1307"/>
            <ac:spMk id="2" creationId="{75B387BB-5974-1F2F-B25C-6F27D59E22FC}"/>
          </ac:spMkLst>
        </pc:spChg>
        <pc:spChg chg="mod">
          <ac:chgData name="Krishna Sharma" userId="daa697d5-8440-4694-9c7d-792884c08b9c" providerId="ADAL" clId="{D157C74D-6770-4162-923A-0869CD383CFA}" dt="2025-06-09T09:40:48.831" v="1130"/>
          <ac:spMkLst>
            <pc:docMk/>
            <pc:sldMk cId="1169069124" sldId="1307"/>
            <ac:spMk id="6" creationId="{9C22A470-B433-BE65-92AB-E38345A4A3F2}"/>
          </ac:spMkLst>
        </pc:spChg>
        <pc:spChg chg="add mod">
          <ac:chgData name="Krishna Sharma" userId="daa697d5-8440-4694-9c7d-792884c08b9c" providerId="ADAL" clId="{D157C74D-6770-4162-923A-0869CD383CFA}" dt="2025-06-09T09:46:47.058" v="1191" actId="1036"/>
          <ac:spMkLst>
            <pc:docMk/>
            <pc:sldMk cId="1169069124" sldId="1307"/>
            <ac:spMk id="29" creationId="{6A3CB968-9854-403C-97FA-00C81E60DBAE}"/>
          </ac:spMkLst>
        </pc:spChg>
        <pc:spChg chg="add mod">
          <ac:chgData name="Krishna Sharma" userId="daa697d5-8440-4694-9c7d-792884c08b9c" providerId="ADAL" clId="{D157C74D-6770-4162-923A-0869CD383CFA}" dt="2025-06-09T09:46:38.093" v="1188" actId="6549"/>
          <ac:spMkLst>
            <pc:docMk/>
            <pc:sldMk cId="1169069124" sldId="1307"/>
            <ac:spMk id="30" creationId="{B75A2E8D-F1F8-15BE-CA4B-76D2D7461952}"/>
          </ac:spMkLst>
        </pc:spChg>
        <pc:picChg chg="mod">
          <ac:chgData name="Krishna Sharma" userId="daa697d5-8440-4694-9c7d-792884c08b9c" providerId="ADAL" clId="{D157C74D-6770-4162-923A-0869CD383CFA}" dt="2025-06-09T09:45:21.868" v="1172" actId="1076"/>
          <ac:picMkLst>
            <pc:docMk/>
            <pc:sldMk cId="1169069124" sldId="1307"/>
            <ac:picMk id="4098" creationId="{E48ECAB9-DDCC-0181-15F6-75283456757B}"/>
          </ac:picMkLst>
        </pc:picChg>
      </pc:sldChg>
      <pc:sldChg chg="delSp modSp mod ord">
        <pc:chgData name="Krishna Sharma" userId="daa697d5-8440-4694-9c7d-792884c08b9c" providerId="ADAL" clId="{D157C74D-6770-4162-923A-0869CD383CFA}" dt="2025-06-09T11:03:24.633" v="1326"/>
        <pc:sldMkLst>
          <pc:docMk/>
          <pc:sldMk cId="3920391527" sldId="1309"/>
        </pc:sldMkLst>
      </pc:sldChg>
      <pc:sldChg chg="modSp mod ord">
        <pc:chgData name="Krishna Sharma" userId="daa697d5-8440-4694-9c7d-792884c08b9c" providerId="ADAL" clId="{D157C74D-6770-4162-923A-0869CD383CFA}" dt="2025-06-09T11:03:41.564" v="1330"/>
        <pc:sldMkLst>
          <pc:docMk/>
          <pc:sldMk cId="2262191740" sldId="1310"/>
        </pc:sldMkLst>
      </pc:sldChg>
      <pc:sldChg chg="modSp mod ord">
        <pc:chgData name="Krishna Sharma" userId="daa697d5-8440-4694-9c7d-792884c08b9c" providerId="ADAL" clId="{D157C74D-6770-4162-923A-0869CD383CFA}" dt="2025-06-09T11:09:01.986" v="1334"/>
        <pc:sldMkLst>
          <pc:docMk/>
          <pc:sldMk cId="2803471545" sldId="1312"/>
        </pc:sldMkLst>
      </pc:sldChg>
      <pc:sldChg chg="modSp mod ord">
        <pc:chgData name="Krishna Sharma" userId="daa697d5-8440-4694-9c7d-792884c08b9c" providerId="ADAL" clId="{D157C74D-6770-4162-923A-0869CD383CFA}" dt="2025-06-09T11:10:52.401" v="1348" actId="6549"/>
        <pc:sldMkLst>
          <pc:docMk/>
          <pc:sldMk cId="2635366087" sldId="1315"/>
        </pc:sldMkLst>
      </pc:sldChg>
      <pc:sldChg chg="modSp mod ord">
        <pc:chgData name="Krishna Sharma" userId="daa697d5-8440-4694-9c7d-792884c08b9c" providerId="ADAL" clId="{D157C74D-6770-4162-923A-0869CD383CFA}" dt="2025-06-09T11:11:01.923" v="1350" actId="6549"/>
        <pc:sldMkLst>
          <pc:docMk/>
          <pc:sldMk cId="3576323805" sldId="1316"/>
        </pc:sldMkLst>
      </pc:sldChg>
      <pc:sldChg chg="modSp mod ord">
        <pc:chgData name="Krishna Sharma" userId="daa697d5-8440-4694-9c7d-792884c08b9c" providerId="ADAL" clId="{D157C74D-6770-4162-923A-0869CD383CFA}" dt="2025-06-09T11:11:11.408" v="1353"/>
        <pc:sldMkLst>
          <pc:docMk/>
          <pc:sldMk cId="1208051429" sldId="1318"/>
        </pc:sldMkLst>
        <pc:spChg chg="mod">
          <ac:chgData name="Krishna Sharma" userId="daa697d5-8440-4694-9c7d-792884c08b9c" providerId="ADAL" clId="{D157C74D-6770-4162-923A-0869CD383CFA}" dt="2025-06-09T11:11:11.408" v="1353"/>
          <ac:spMkLst>
            <pc:docMk/>
            <pc:sldMk cId="1208051429" sldId="1318"/>
            <ac:spMk id="7" creationId="{98A22040-8891-8E78-927A-5C87D029C5A3}"/>
          </ac:spMkLst>
        </pc:spChg>
      </pc:sldChg>
      <pc:sldChg chg="modSp mod ord">
        <pc:chgData name="Krishna Sharma" userId="daa697d5-8440-4694-9c7d-792884c08b9c" providerId="ADAL" clId="{D157C74D-6770-4162-923A-0869CD383CFA}" dt="2025-06-09T11:11:20.848" v="1354"/>
        <pc:sldMkLst>
          <pc:docMk/>
          <pc:sldMk cId="1410339993" sldId="1319"/>
        </pc:sldMkLst>
        <pc:spChg chg="mod">
          <ac:chgData name="Krishna Sharma" userId="daa697d5-8440-4694-9c7d-792884c08b9c" providerId="ADAL" clId="{D157C74D-6770-4162-923A-0869CD383CFA}" dt="2025-06-09T11:10:25.682" v="1342" actId="1076"/>
          <ac:spMkLst>
            <pc:docMk/>
            <pc:sldMk cId="1410339993" sldId="1319"/>
            <ac:spMk id="2" creationId="{BBABC0B8-D5C5-60C3-C191-9E6886E174AA}"/>
          </ac:spMkLst>
        </pc:spChg>
        <pc:spChg chg="mod">
          <ac:chgData name="Krishna Sharma" userId="daa697d5-8440-4694-9c7d-792884c08b9c" providerId="ADAL" clId="{D157C74D-6770-4162-923A-0869CD383CFA}" dt="2025-06-09T11:11:20.848" v="1354"/>
          <ac:spMkLst>
            <pc:docMk/>
            <pc:sldMk cId="1410339993" sldId="1319"/>
            <ac:spMk id="6" creationId="{5B1DB3BC-68E0-21F6-D2E8-526FCDF24168}"/>
          </ac:spMkLst>
        </pc:spChg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3213536046" sldId="1337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1231799203" sldId="1339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473242897" sldId="1341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940185254" sldId="1342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3453132681" sldId="1344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2583416478" sldId="1345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1348644353" sldId="1347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1899357157" sldId="1348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703018961" sldId="1350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3249253180" sldId="1351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3951599948" sldId="1353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1269173421" sldId="1354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3701632501" sldId="1356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2496797095" sldId="1357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2687189996" sldId="1359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451592897" sldId="1360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2758946421" sldId="1362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2789652024" sldId="1363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2330340408" sldId="1365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1663946200" sldId="1366"/>
        </pc:sldMkLst>
      </pc:sldChg>
      <pc:sldChg chg="delSp modSp mod">
        <pc:chgData name="Krishna Sharma" userId="daa697d5-8440-4694-9c7d-792884c08b9c" providerId="ADAL" clId="{D157C74D-6770-4162-923A-0869CD383CFA}" dt="2025-06-10T04:37:56.742" v="1931" actId="1076"/>
        <pc:sldMkLst>
          <pc:docMk/>
          <pc:sldMk cId="1966804136" sldId="1368"/>
        </pc:sldMkLst>
        <pc:spChg chg="mod">
          <ac:chgData name="Krishna Sharma" userId="daa697d5-8440-4694-9c7d-792884c08b9c" providerId="ADAL" clId="{D157C74D-6770-4162-923A-0869CD383CFA}" dt="2025-06-10T04:37:56.742" v="1931" actId="1076"/>
          <ac:spMkLst>
            <pc:docMk/>
            <pc:sldMk cId="1966804136" sldId="1368"/>
            <ac:spMk id="2" creationId="{F856B2E5-378B-1279-9C88-3B7060CEE661}"/>
          </ac:spMkLst>
        </pc:spChg>
      </pc:sldChg>
      <pc:sldChg chg="addSp delSp modSp mod">
        <pc:chgData name="Krishna Sharma" userId="daa697d5-8440-4694-9c7d-792884c08b9c" providerId="ADAL" clId="{D157C74D-6770-4162-923A-0869CD383CFA}" dt="2025-06-10T04:36:22.596" v="1918" actId="14100"/>
        <pc:sldMkLst>
          <pc:docMk/>
          <pc:sldMk cId="130700123" sldId="1369"/>
        </pc:sldMkLst>
        <pc:spChg chg="mod">
          <ac:chgData name="Krishna Sharma" userId="daa697d5-8440-4694-9c7d-792884c08b9c" providerId="ADAL" clId="{D157C74D-6770-4162-923A-0869CD383CFA}" dt="2025-06-10T04:30:47.819" v="1869" actId="1076"/>
          <ac:spMkLst>
            <pc:docMk/>
            <pc:sldMk cId="130700123" sldId="1369"/>
            <ac:spMk id="2" creationId="{782D7620-E3EE-EE28-654D-15309A1829E8}"/>
          </ac:spMkLst>
        </pc:spChg>
        <pc:spChg chg="add mod">
          <ac:chgData name="Krishna Sharma" userId="daa697d5-8440-4694-9c7d-792884c08b9c" providerId="ADAL" clId="{D157C74D-6770-4162-923A-0869CD383CFA}" dt="2025-06-10T04:25:47.942" v="1832" actId="14100"/>
          <ac:spMkLst>
            <pc:docMk/>
            <pc:sldMk cId="130700123" sldId="1369"/>
            <ac:spMk id="27" creationId="{B7E81F99-BB58-8C9E-ED27-EB094D64C91C}"/>
          </ac:spMkLst>
        </pc:spChg>
        <pc:spChg chg="add mod">
          <ac:chgData name="Krishna Sharma" userId="daa697d5-8440-4694-9c7d-792884c08b9c" providerId="ADAL" clId="{D157C74D-6770-4162-923A-0869CD383CFA}" dt="2025-06-10T04:29:17.817" v="1861" actId="113"/>
          <ac:spMkLst>
            <pc:docMk/>
            <pc:sldMk cId="130700123" sldId="1369"/>
            <ac:spMk id="30" creationId="{E68E64E5-5D4D-974A-8ACB-0FD55DE48396}"/>
          </ac:spMkLst>
        </pc:spChg>
      </pc:sldChg>
      <pc:sldChg chg="delSp modSp mod">
        <pc:chgData name="Krishna Sharma" userId="daa697d5-8440-4694-9c7d-792884c08b9c" providerId="ADAL" clId="{D157C74D-6770-4162-923A-0869CD383CFA}" dt="2025-06-10T04:39:31.496" v="1946" actId="478"/>
        <pc:sldMkLst>
          <pc:docMk/>
          <pc:sldMk cId="1056810274" sldId="1370"/>
        </pc:sldMkLst>
        <pc:spChg chg="mod">
          <ac:chgData name="Krishna Sharma" userId="daa697d5-8440-4694-9c7d-792884c08b9c" providerId="ADAL" clId="{D157C74D-6770-4162-923A-0869CD383CFA}" dt="2025-06-10T04:39:11.214" v="1943"/>
          <ac:spMkLst>
            <pc:docMk/>
            <pc:sldMk cId="1056810274" sldId="1370"/>
            <ac:spMk id="2" creationId="{DAF375E7-C74C-73BB-1E2D-8A780AEAE4DD}"/>
          </ac:spMkLst>
        </pc:spChg>
      </pc:sldChg>
      <pc:sldChg chg="addSp delSp modSp mod">
        <pc:chgData name="Krishna Sharma" userId="daa697d5-8440-4694-9c7d-792884c08b9c" providerId="ADAL" clId="{D157C74D-6770-4162-923A-0869CD383CFA}" dt="2025-06-10T04:40:09.882" v="1952" actId="1076"/>
        <pc:sldMkLst>
          <pc:docMk/>
          <pc:sldMk cId="2865006180" sldId="1371"/>
        </pc:sldMkLst>
        <pc:spChg chg="mod">
          <ac:chgData name="Krishna Sharma" userId="daa697d5-8440-4694-9c7d-792884c08b9c" providerId="ADAL" clId="{D157C74D-6770-4162-923A-0869CD383CFA}" dt="2025-06-10T04:38:36.900" v="1941" actId="1076"/>
          <ac:spMkLst>
            <pc:docMk/>
            <pc:sldMk cId="2865006180" sldId="1371"/>
            <ac:spMk id="2" creationId="{A253A976-796C-94AA-EA6C-BF2463930129}"/>
          </ac:spMkLst>
        </pc:spChg>
        <pc:spChg chg="add mod">
          <ac:chgData name="Krishna Sharma" userId="daa697d5-8440-4694-9c7d-792884c08b9c" providerId="ADAL" clId="{D157C74D-6770-4162-923A-0869CD383CFA}" dt="2025-06-10T04:40:09.882" v="1952" actId="1076"/>
          <ac:spMkLst>
            <pc:docMk/>
            <pc:sldMk cId="2865006180" sldId="1371"/>
            <ac:spMk id="5" creationId="{4DA01A70-407F-C3AD-7067-D4AC3934D801}"/>
          </ac:spMkLst>
        </pc:spChg>
        <pc:spChg chg="add mod">
          <ac:chgData name="Krishna Sharma" userId="daa697d5-8440-4694-9c7d-792884c08b9c" providerId="ADAL" clId="{D157C74D-6770-4162-923A-0869CD383CFA}" dt="2025-06-10T04:40:09.882" v="1952" actId="1076"/>
          <ac:spMkLst>
            <pc:docMk/>
            <pc:sldMk cId="2865006180" sldId="1371"/>
            <ac:spMk id="6" creationId="{F18DF8E3-06A2-0C6B-636A-A25F6078F7F9}"/>
          </ac:spMkLst>
        </pc:spChg>
        <pc:spChg chg="add mod">
          <ac:chgData name="Krishna Sharma" userId="daa697d5-8440-4694-9c7d-792884c08b9c" providerId="ADAL" clId="{D157C74D-6770-4162-923A-0869CD383CFA}" dt="2025-06-10T04:40:09.882" v="1952" actId="1076"/>
          <ac:spMkLst>
            <pc:docMk/>
            <pc:sldMk cId="2865006180" sldId="1371"/>
            <ac:spMk id="7" creationId="{4454CEE2-9EB5-C5B1-8F96-8E4CAFF1CBE5}"/>
          </ac:spMkLst>
        </pc:spChg>
        <pc:spChg chg="mod">
          <ac:chgData name="Krishna Sharma" userId="daa697d5-8440-4694-9c7d-792884c08b9c" providerId="ADAL" clId="{D157C74D-6770-4162-923A-0869CD383CFA}" dt="2025-06-10T04:40:03.044" v="1950" actId="1076"/>
          <ac:spMkLst>
            <pc:docMk/>
            <pc:sldMk cId="2865006180" sldId="1371"/>
            <ac:spMk id="30" creationId="{53BCDB01-A7B4-818A-F970-AD31BD3C6D60}"/>
          </ac:spMkLst>
        </pc:spChg>
        <pc:spChg chg="mod">
          <ac:chgData name="Krishna Sharma" userId="daa697d5-8440-4694-9c7d-792884c08b9c" providerId="ADAL" clId="{D157C74D-6770-4162-923A-0869CD383CFA}" dt="2025-06-10T04:40:03.044" v="1950" actId="1076"/>
          <ac:spMkLst>
            <pc:docMk/>
            <pc:sldMk cId="2865006180" sldId="1371"/>
            <ac:spMk id="31" creationId="{8B1A2B0E-3B70-8A92-2FBC-C7C3B77567F7}"/>
          </ac:spMkLst>
        </pc:spChg>
        <pc:spChg chg="mod">
          <ac:chgData name="Krishna Sharma" userId="daa697d5-8440-4694-9c7d-792884c08b9c" providerId="ADAL" clId="{D157C74D-6770-4162-923A-0869CD383CFA}" dt="2025-06-10T04:40:03.044" v="1950" actId="1076"/>
          <ac:spMkLst>
            <pc:docMk/>
            <pc:sldMk cId="2865006180" sldId="1371"/>
            <ac:spMk id="32" creationId="{A3DCE5D5-EA9F-769E-30C5-FFEC30727122}"/>
          </ac:spMkLst>
        </pc:spChg>
        <pc:spChg chg="mod">
          <ac:chgData name="Krishna Sharma" userId="daa697d5-8440-4694-9c7d-792884c08b9c" providerId="ADAL" clId="{D157C74D-6770-4162-923A-0869CD383CFA}" dt="2025-06-10T04:39:56.627" v="1949" actId="1076"/>
          <ac:spMkLst>
            <pc:docMk/>
            <pc:sldMk cId="2865006180" sldId="1371"/>
            <ac:spMk id="34" creationId="{8B53D093-3ECF-B1D9-78B8-C79911C50A67}"/>
          </ac:spMkLst>
        </pc:spChg>
        <pc:spChg chg="mod">
          <ac:chgData name="Krishna Sharma" userId="daa697d5-8440-4694-9c7d-792884c08b9c" providerId="ADAL" clId="{D157C74D-6770-4162-923A-0869CD383CFA}" dt="2025-06-10T04:39:56.627" v="1949" actId="1076"/>
          <ac:spMkLst>
            <pc:docMk/>
            <pc:sldMk cId="2865006180" sldId="1371"/>
            <ac:spMk id="35" creationId="{81638254-119E-017A-2238-61F73003E30B}"/>
          </ac:spMkLst>
        </pc:spChg>
        <pc:spChg chg="mod">
          <ac:chgData name="Krishna Sharma" userId="daa697d5-8440-4694-9c7d-792884c08b9c" providerId="ADAL" clId="{D157C74D-6770-4162-923A-0869CD383CFA}" dt="2025-06-10T04:39:56.627" v="1949" actId="1076"/>
          <ac:spMkLst>
            <pc:docMk/>
            <pc:sldMk cId="2865006180" sldId="1371"/>
            <ac:spMk id="37" creationId="{59A03E17-CE97-09AC-3F89-9CFFD5AA19C9}"/>
          </ac:spMkLst>
        </pc:spChg>
      </pc:sldChg>
      <pc:sldChg chg="modSp mod">
        <pc:chgData name="Krishna Sharma" userId="daa697d5-8440-4694-9c7d-792884c08b9c" providerId="ADAL" clId="{D157C74D-6770-4162-923A-0869CD383CFA}" dt="2025-06-10T04:40:53.558" v="1960" actId="1076"/>
        <pc:sldMkLst>
          <pc:docMk/>
          <pc:sldMk cId="2954267522" sldId="1372"/>
        </pc:sldMkLst>
        <pc:spChg chg="mod">
          <ac:chgData name="Krishna Sharma" userId="daa697d5-8440-4694-9c7d-792884c08b9c" providerId="ADAL" clId="{D157C74D-6770-4162-923A-0869CD383CFA}" dt="2025-06-10T04:40:53.558" v="1960" actId="1076"/>
          <ac:spMkLst>
            <pc:docMk/>
            <pc:sldMk cId="2954267522" sldId="1372"/>
            <ac:spMk id="2" creationId="{BF4C30ED-7105-75F6-C612-1DB6CB19C2CC}"/>
          </ac:spMkLst>
        </pc:spChg>
      </pc:sldChg>
      <pc:sldChg chg="modSp mod">
        <pc:chgData name="Krishna Sharma" userId="daa697d5-8440-4694-9c7d-792884c08b9c" providerId="ADAL" clId="{D157C74D-6770-4162-923A-0869CD383CFA}" dt="2025-06-10T04:41:07.255" v="1963" actId="14100"/>
        <pc:sldMkLst>
          <pc:docMk/>
          <pc:sldMk cId="2044274387" sldId="1374"/>
        </pc:sldMkLst>
        <pc:spChg chg="mod">
          <ac:chgData name="Krishna Sharma" userId="daa697d5-8440-4694-9c7d-792884c08b9c" providerId="ADAL" clId="{D157C74D-6770-4162-923A-0869CD383CFA}" dt="2025-06-10T04:41:07.255" v="1963" actId="14100"/>
          <ac:spMkLst>
            <pc:docMk/>
            <pc:sldMk cId="2044274387" sldId="1374"/>
            <ac:spMk id="2" creationId="{117A3D6A-A7F1-2067-4BA3-443F26F558F8}"/>
          </ac:spMkLst>
        </pc:spChg>
      </pc:sldChg>
      <pc:sldChg chg="modSp mod">
        <pc:chgData name="Krishna Sharma" userId="daa697d5-8440-4694-9c7d-792884c08b9c" providerId="ADAL" clId="{D157C74D-6770-4162-923A-0869CD383CFA}" dt="2025-06-10T04:41:18.480" v="1966" actId="14100"/>
        <pc:sldMkLst>
          <pc:docMk/>
          <pc:sldMk cId="2149197380" sldId="1376"/>
        </pc:sldMkLst>
      </pc:sldChg>
      <pc:sldChg chg="modSp mod">
        <pc:chgData name="Krishna Sharma" userId="daa697d5-8440-4694-9c7d-792884c08b9c" providerId="ADAL" clId="{D157C74D-6770-4162-923A-0869CD383CFA}" dt="2025-06-10T04:41:37.941" v="1969" actId="14100"/>
        <pc:sldMkLst>
          <pc:docMk/>
          <pc:sldMk cId="2153920532" sldId="1377"/>
        </pc:sldMkLst>
      </pc:sldChg>
      <pc:sldChg chg="modSp mod">
        <pc:chgData name="Krishna Sharma" userId="daa697d5-8440-4694-9c7d-792884c08b9c" providerId="ADAL" clId="{D157C74D-6770-4162-923A-0869CD383CFA}" dt="2025-06-10T04:41:47.457" v="1972" actId="6549"/>
        <pc:sldMkLst>
          <pc:docMk/>
          <pc:sldMk cId="4103397409" sldId="1378"/>
        </pc:sldMkLst>
      </pc:sldChg>
      <pc:sldChg chg="modSp mod">
        <pc:chgData name="Krishna Sharma" userId="daa697d5-8440-4694-9c7d-792884c08b9c" providerId="ADAL" clId="{D157C74D-6770-4162-923A-0869CD383CFA}" dt="2025-06-10T04:42:00.509" v="1975" actId="14100"/>
        <pc:sldMkLst>
          <pc:docMk/>
          <pc:sldMk cId="4134873201" sldId="1380"/>
        </pc:sldMkLst>
      </pc:sldChg>
      <pc:sldChg chg="modSp mod">
        <pc:chgData name="Krishna Sharma" userId="daa697d5-8440-4694-9c7d-792884c08b9c" providerId="ADAL" clId="{D157C74D-6770-4162-923A-0869CD383CFA}" dt="2025-06-10T04:42:11.294" v="1978" actId="14100"/>
        <pc:sldMkLst>
          <pc:docMk/>
          <pc:sldMk cId="2287264940" sldId="1381"/>
        </pc:sldMkLst>
      </pc:sldChg>
      <pc:sldChg chg="modSp mod">
        <pc:chgData name="Krishna Sharma" userId="daa697d5-8440-4694-9c7d-792884c08b9c" providerId="ADAL" clId="{D157C74D-6770-4162-923A-0869CD383CFA}" dt="2025-06-10T04:42:22.750" v="1982" actId="14100"/>
        <pc:sldMkLst>
          <pc:docMk/>
          <pc:sldMk cId="2246927992" sldId="1383"/>
        </pc:sldMkLst>
      </pc:sldChg>
      <pc:sldChg chg="modSp mod">
        <pc:chgData name="Krishna Sharma" userId="daa697d5-8440-4694-9c7d-792884c08b9c" providerId="ADAL" clId="{D157C74D-6770-4162-923A-0869CD383CFA}" dt="2025-06-10T04:42:32.107" v="1985" actId="14100"/>
        <pc:sldMkLst>
          <pc:docMk/>
          <pc:sldMk cId="3937025842" sldId="1385"/>
        </pc:sldMkLst>
      </pc:sldChg>
      <pc:sldChg chg="modSp mod">
        <pc:chgData name="Krishna Sharma" userId="daa697d5-8440-4694-9c7d-792884c08b9c" providerId="ADAL" clId="{D157C74D-6770-4162-923A-0869CD383CFA}" dt="2025-06-10T04:42:43.059" v="1988" actId="14100"/>
        <pc:sldMkLst>
          <pc:docMk/>
          <pc:sldMk cId="4137854167" sldId="1386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778429528" sldId="1455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769284154" sldId="1464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740790407" sldId="1465"/>
        </pc:sldMkLst>
      </pc:sldChg>
      <pc:sldChg chg="modSp mod ord">
        <pc:chgData name="Krishna Sharma" userId="daa697d5-8440-4694-9c7d-792884c08b9c" providerId="ADAL" clId="{D157C74D-6770-4162-923A-0869CD383CFA}" dt="2025-06-09T11:10:35.567" v="1344"/>
        <pc:sldMkLst>
          <pc:docMk/>
          <pc:sldMk cId="4266953209" sldId="1472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3102282180" sldId="1473"/>
        </pc:sldMkLst>
      </pc:sldChg>
      <pc:sldChg chg="del">
        <pc:chgData name="Krishna Sharma" userId="daa697d5-8440-4694-9c7d-792884c08b9c" providerId="ADAL" clId="{D157C74D-6770-4162-923A-0869CD383CFA}" dt="2025-06-09T11:15:35.173" v="1355" actId="47"/>
        <pc:sldMkLst>
          <pc:docMk/>
          <pc:sldMk cId="3678087304" sldId="1474"/>
        </pc:sldMkLst>
      </pc:sldChg>
      <pc:sldChg chg="add del">
        <pc:chgData name="Krishna Sharma" userId="daa697d5-8440-4694-9c7d-792884c08b9c" providerId="ADAL" clId="{D157C74D-6770-4162-923A-0869CD383CFA}" dt="2025-06-09T06:32:37.356" v="88" actId="47"/>
        <pc:sldMkLst>
          <pc:docMk/>
          <pc:sldMk cId="37819648" sldId="1475"/>
        </pc:sldMkLst>
      </pc:sldChg>
      <pc:sldChg chg="delSp modSp add del mod">
        <pc:chgData name="Krishna Sharma" userId="daa697d5-8440-4694-9c7d-792884c08b9c" providerId="ADAL" clId="{D157C74D-6770-4162-923A-0869CD383CFA}" dt="2025-06-09T06:46:27.251" v="320" actId="1037"/>
        <pc:sldMkLst>
          <pc:docMk/>
          <pc:sldMk cId="615437714" sldId="1475"/>
        </pc:sldMkLst>
        <pc:spChg chg="mod">
          <ac:chgData name="Krishna Sharma" userId="daa697d5-8440-4694-9c7d-792884c08b9c" providerId="ADAL" clId="{D157C74D-6770-4162-923A-0869CD383CFA}" dt="2025-06-09T06:46:10.038" v="303"/>
          <ac:spMkLst>
            <pc:docMk/>
            <pc:sldMk cId="615437714" sldId="1475"/>
            <ac:spMk id="2" creationId="{D0B06A2C-8377-46BD-A1E3-1BA4F17B2253}"/>
          </ac:spMkLst>
        </pc:spChg>
        <pc:spChg chg="mod">
          <ac:chgData name="Krishna Sharma" userId="daa697d5-8440-4694-9c7d-792884c08b9c" providerId="ADAL" clId="{D157C74D-6770-4162-923A-0869CD383CFA}" dt="2025-06-09T06:46:17.541" v="304"/>
          <ac:spMkLst>
            <pc:docMk/>
            <pc:sldMk cId="615437714" sldId="1475"/>
            <ac:spMk id="7" creationId="{E74FD740-4723-3278-F444-02ACC7051B48}"/>
          </ac:spMkLst>
        </pc:spChg>
        <pc:spChg chg="mod">
          <ac:chgData name="Krishna Sharma" userId="daa697d5-8440-4694-9c7d-792884c08b9c" providerId="ADAL" clId="{D157C74D-6770-4162-923A-0869CD383CFA}" dt="2025-06-09T06:39:25.166" v="216" actId="1037"/>
          <ac:spMkLst>
            <pc:docMk/>
            <pc:sldMk cId="615437714" sldId="1475"/>
            <ac:spMk id="46" creationId="{9009A841-06D6-4363-B6B2-41C8B416DA33}"/>
          </ac:spMkLst>
        </pc:spChg>
        <pc:spChg chg="mod">
          <ac:chgData name="Krishna Sharma" userId="daa697d5-8440-4694-9c7d-792884c08b9c" providerId="ADAL" clId="{D157C74D-6770-4162-923A-0869CD383CFA}" dt="2025-06-09T06:39:25.166" v="216" actId="1037"/>
          <ac:spMkLst>
            <pc:docMk/>
            <pc:sldMk cId="615437714" sldId="1475"/>
            <ac:spMk id="47" creationId="{702DD239-C10D-0B67-13D1-FABFDDAEC1E0}"/>
          </ac:spMkLst>
        </pc:spChg>
        <pc:spChg chg="mod">
          <ac:chgData name="Krishna Sharma" userId="daa697d5-8440-4694-9c7d-792884c08b9c" providerId="ADAL" clId="{D157C74D-6770-4162-923A-0869CD383CFA}" dt="2025-06-09T06:40:13.602" v="219" actId="14100"/>
          <ac:spMkLst>
            <pc:docMk/>
            <pc:sldMk cId="615437714" sldId="1475"/>
            <ac:spMk id="48" creationId="{58538F3B-C6C5-BA14-7E93-8AE116630FB0}"/>
          </ac:spMkLst>
        </pc:spChg>
        <pc:spChg chg="mod">
          <ac:chgData name="Krishna Sharma" userId="daa697d5-8440-4694-9c7d-792884c08b9c" providerId="ADAL" clId="{D157C74D-6770-4162-923A-0869CD383CFA}" dt="2025-06-09T06:40:13.602" v="219" actId="14100"/>
          <ac:spMkLst>
            <pc:docMk/>
            <pc:sldMk cId="615437714" sldId="1475"/>
            <ac:spMk id="49" creationId="{C89A2236-D493-3808-1A3C-4078C9571747}"/>
          </ac:spMkLst>
        </pc:spChg>
        <pc:spChg chg="mod">
          <ac:chgData name="Krishna Sharma" userId="daa697d5-8440-4694-9c7d-792884c08b9c" providerId="ADAL" clId="{D157C74D-6770-4162-923A-0869CD383CFA}" dt="2025-06-09T06:38:36.262" v="158" actId="1076"/>
          <ac:spMkLst>
            <pc:docMk/>
            <pc:sldMk cId="615437714" sldId="1475"/>
            <ac:spMk id="50" creationId="{28C48778-D3B7-7A98-553D-61B9DEA9EFFF}"/>
          </ac:spMkLst>
        </pc:spChg>
        <pc:spChg chg="mod">
          <ac:chgData name="Krishna Sharma" userId="daa697d5-8440-4694-9c7d-792884c08b9c" providerId="ADAL" clId="{D157C74D-6770-4162-923A-0869CD383CFA}" dt="2025-06-09T06:38:36.262" v="158" actId="1076"/>
          <ac:spMkLst>
            <pc:docMk/>
            <pc:sldMk cId="615437714" sldId="1475"/>
            <ac:spMk id="52" creationId="{07E2D2A3-E298-CAC2-96E4-A7D6C9A0BD8F}"/>
          </ac:spMkLst>
        </pc:spChg>
        <pc:spChg chg="mod">
          <ac:chgData name="Krishna Sharma" userId="daa697d5-8440-4694-9c7d-792884c08b9c" providerId="ADAL" clId="{D157C74D-6770-4162-923A-0869CD383CFA}" dt="2025-06-09T06:40:13.602" v="219" actId="14100"/>
          <ac:spMkLst>
            <pc:docMk/>
            <pc:sldMk cId="615437714" sldId="1475"/>
            <ac:spMk id="53" creationId="{DA850276-D398-24CB-D739-C269B86004C2}"/>
          </ac:spMkLst>
        </pc:spChg>
        <pc:spChg chg="mod">
          <ac:chgData name="Krishna Sharma" userId="daa697d5-8440-4694-9c7d-792884c08b9c" providerId="ADAL" clId="{D157C74D-6770-4162-923A-0869CD383CFA}" dt="2025-06-09T06:40:13.602" v="219" actId="14100"/>
          <ac:spMkLst>
            <pc:docMk/>
            <pc:sldMk cId="615437714" sldId="1475"/>
            <ac:spMk id="55" creationId="{A73FD652-5B2F-A4D1-C55A-7832EF8CA772}"/>
          </ac:spMkLst>
        </pc:spChg>
        <pc:spChg chg="mod">
          <ac:chgData name="Krishna Sharma" userId="daa697d5-8440-4694-9c7d-792884c08b9c" providerId="ADAL" clId="{D157C74D-6770-4162-923A-0869CD383CFA}" dt="2025-06-09T06:39:25.166" v="216" actId="1037"/>
          <ac:spMkLst>
            <pc:docMk/>
            <pc:sldMk cId="615437714" sldId="1475"/>
            <ac:spMk id="56" creationId="{E8639EED-DD20-111B-2F1B-2D03BB92CB9F}"/>
          </ac:spMkLst>
        </pc:spChg>
        <pc:spChg chg="mod">
          <ac:chgData name="Krishna Sharma" userId="daa697d5-8440-4694-9c7d-792884c08b9c" providerId="ADAL" clId="{D157C74D-6770-4162-923A-0869CD383CFA}" dt="2025-06-09T06:39:25.166" v="216" actId="1037"/>
          <ac:spMkLst>
            <pc:docMk/>
            <pc:sldMk cId="615437714" sldId="1475"/>
            <ac:spMk id="57" creationId="{BB3D0916-06A1-C3DB-8A4D-2B6BA986285B}"/>
          </ac:spMkLst>
        </pc:spChg>
        <pc:spChg chg="mod">
          <ac:chgData name="Krishna Sharma" userId="daa697d5-8440-4694-9c7d-792884c08b9c" providerId="ADAL" clId="{D157C74D-6770-4162-923A-0869CD383CFA}" dt="2025-06-09T06:40:13.602" v="219" actId="14100"/>
          <ac:spMkLst>
            <pc:docMk/>
            <pc:sldMk cId="615437714" sldId="1475"/>
            <ac:spMk id="58" creationId="{508AEF6C-EF33-0D9E-F96B-80543D95F0C3}"/>
          </ac:spMkLst>
        </pc:spChg>
        <pc:spChg chg="mod">
          <ac:chgData name="Krishna Sharma" userId="daa697d5-8440-4694-9c7d-792884c08b9c" providerId="ADAL" clId="{D157C74D-6770-4162-923A-0869CD383CFA}" dt="2025-06-09T06:40:13.602" v="219" actId="14100"/>
          <ac:spMkLst>
            <pc:docMk/>
            <pc:sldMk cId="615437714" sldId="1475"/>
            <ac:spMk id="59" creationId="{BC78EEE3-5BA1-EA78-EA88-32F7878BFBB1}"/>
          </ac:spMkLst>
        </pc:spChg>
        <pc:spChg chg="mod">
          <ac:chgData name="Krishna Sharma" userId="daa697d5-8440-4694-9c7d-792884c08b9c" providerId="ADAL" clId="{D157C74D-6770-4162-923A-0869CD383CFA}" dt="2025-06-09T06:38:36.262" v="158" actId="1076"/>
          <ac:spMkLst>
            <pc:docMk/>
            <pc:sldMk cId="615437714" sldId="1475"/>
            <ac:spMk id="60" creationId="{89DCEDD2-E286-6B7D-F79B-7C613147D449}"/>
          </ac:spMkLst>
        </pc:spChg>
        <pc:spChg chg="mod">
          <ac:chgData name="Krishna Sharma" userId="daa697d5-8440-4694-9c7d-792884c08b9c" providerId="ADAL" clId="{D157C74D-6770-4162-923A-0869CD383CFA}" dt="2025-06-09T06:38:36.262" v="158" actId="1076"/>
          <ac:spMkLst>
            <pc:docMk/>
            <pc:sldMk cId="615437714" sldId="1475"/>
            <ac:spMk id="61" creationId="{DD564557-F210-E792-4C63-04E389FD0B2D}"/>
          </ac:spMkLst>
        </pc:spChg>
        <pc:spChg chg="mod">
          <ac:chgData name="Krishna Sharma" userId="daa697d5-8440-4694-9c7d-792884c08b9c" providerId="ADAL" clId="{D157C74D-6770-4162-923A-0869CD383CFA}" dt="2025-06-09T06:40:13.602" v="219" actId="14100"/>
          <ac:spMkLst>
            <pc:docMk/>
            <pc:sldMk cId="615437714" sldId="1475"/>
            <ac:spMk id="62" creationId="{9C1EC332-21F5-7125-22F2-535F01F18CBD}"/>
          </ac:spMkLst>
        </pc:spChg>
        <pc:spChg chg="mod">
          <ac:chgData name="Krishna Sharma" userId="daa697d5-8440-4694-9c7d-792884c08b9c" providerId="ADAL" clId="{D157C74D-6770-4162-923A-0869CD383CFA}" dt="2025-06-09T06:40:13.602" v="219" actId="14100"/>
          <ac:spMkLst>
            <pc:docMk/>
            <pc:sldMk cId="615437714" sldId="1475"/>
            <ac:spMk id="63" creationId="{C16382A9-2904-FAC0-3853-1049CBC59F72}"/>
          </ac:spMkLst>
        </pc:spChg>
      </pc:sldChg>
      <pc:sldChg chg="addSp delSp modSp new add del mod ord">
        <pc:chgData name="Krishna Sharma" userId="daa697d5-8440-4694-9c7d-792884c08b9c" providerId="ADAL" clId="{D157C74D-6770-4162-923A-0869CD383CFA}" dt="2025-06-09T06:46:04.911" v="302" actId="47"/>
        <pc:sldMkLst>
          <pc:docMk/>
          <pc:sldMk cId="2838462836" sldId="1476"/>
        </pc:sldMkLst>
      </pc:sldChg>
      <pc:sldChg chg="new del">
        <pc:chgData name="Krishna Sharma" userId="daa697d5-8440-4694-9c7d-792884c08b9c" providerId="ADAL" clId="{D157C74D-6770-4162-923A-0869CD383CFA}" dt="2025-06-09T06:31:37.747" v="50" actId="680"/>
        <pc:sldMkLst>
          <pc:docMk/>
          <pc:sldMk cId="4227636364" sldId="1476"/>
        </pc:sldMkLst>
      </pc:sldChg>
      <pc:sldChg chg="addSp delSp modSp add mod ord">
        <pc:chgData name="Krishna Sharma" userId="daa697d5-8440-4694-9c7d-792884c08b9c" providerId="ADAL" clId="{D157C74D-6770-4162-923A-0869CD383CFA}" dt="2025-06-09T06:50:39.904" v="355" actId="1036"/>
        <pc:sldMkLst>
          <pc:docMk/>
          <pc:sldMk cId="662215785" sldId="1477"/>
        </pc:sldMkLst>
        <pc:spChg chg="mod">
          <ac:chgData name="Krishna Sharma" userId="daa697d5-8440-4694-9c7d-792884c08b9c" providerId="ADAL" clId="{D157C74D-6770-4162-923A-0869CD383CFA}" dt="2025-06-09T06:43:33.115" v="291"/>
          <ac:spMkLst>
            <pc:docMk/>
            <pc:sldMk cId="662215785" sldId="1477"/>
            <ac:spMk id="2" creationId="{3E543FB7-DDA2-14B7-9BAA-CFA113274770}"/>
          </ac:spMkLst>
        </pc:spChg>
        <pc:spChg chg="add mod">
          <ac:chgData name="Krishna Sharma" userId="daa697d5-8440-4694-9c7d-792884c08b9c" providerId="ADAL" clId="{D157C74D-6770-4162-923A-0869CD383CFA}" dt="2025-06-09T06:50:39.904" v="355" actId="1036"/>
          <ac:spMkLst>
            <pc:docMk/>
            <pc:sldMk cId="662215785" sldId="1477"/>
            <ac:spMk id="4" creationId="{33361BCD-B96C-E39B-2F70-70F4B0A4787B}"/>
          </ac:spMkLst>
        </pc:spChg>
        <pc:spChg chg="mod">
          <ac:chgData name="Krishna Sharma" userId="daa697d5-8440-4694-9c7d-792884c08b9c" providerId="ADAL" clId="{D157C74D-6770-4162-923A-0869CD383CFA}" dt="2025-06-09T06:43:47.134" v="293"/>
          <ac:spMkLst>
            <pc:docMk/>
            <pc:sldMk cId="662215785" sldId="1477"/>
            <ac:spMk id="7" creationId="{CE2E9D52-5B18-24F5-387A-7D99D6BB1617}"/>
          </ac:spMkLst>
        </pc:spChg>
        <pc:spChg chg="add mod">
          <ac:chgData name="Krishna Sharma" userId="daa697d5-8440-4694-9c7d-792884c08b9c" providerId="ADAL" clId="{D157C74D-6770-4162-923A-0869CD383CFA}" dt="2025-06-09T06:43:24.043" v="290" actId="1035"/>
          <ac:spMkLst>
            <pc:docMk/>
            <pc:sldMk cId="662215785" sldId="1477"/>
            <ac:spMk id="30" creationId="{D88E4B4B-0E8C-9A73-8AFE-3C06E1E6B8F0}"/>
          </ac:spMkLst>
        </pc:spChg>
        <pc:spChg chg="add mod">
          <ac:chgData name="Krishna Sharma" userId="daa697d5-8440-4694-9c7d-792884c08b9c" providerId="ADAL" clId="{D157C74D-6770-4162-923A-0869CD383CFA}" dt="2025-06-09T06:43:24.043" v="290" actId="1035"/>
          <ac:spMkLst>
            <pc:docMk/>
            <pc:sldMk cId="662215785" sldId="1477"/>
            <ac:spMk id="31" creationId="{3E7F52A1-B0C8-2DAF-D6A6-A1C0B7F37A61}"/>
          </ac:spMkLst>
        </pc:spChg>
        <pc:spChg chg="add mod">
          <ac:chgData name="Krishna Sharma" userId="daa697d5-8440-4694-9c7d-792884c08b9c" providerId="ADAL" clId="{D157C74D-6770-4162-923A-0869CD383CFA}" dt="2025-06-09T06:43:24.043" v="290" actId="1035"/>
          <ac:spMkLst>
            <pc:docMk/>
            <pc:sldMk cId="662215785" sldId="1477"/>
            <ac:spMk id="32" creationId="{8F4F78E0-3350-D0D7-764C-EDE91B8EE0E9}"/>
          </ac:spMkLst>
        </pc:spChg>
        <pc:spChg chg="add mod">
          <ac:chgData name="Krishna Sharma" userId="daa697d5-8440-4694-9c7d-792884c08b9c" providerId="ADAL" clId="{D157C74D-6770-4162-923A-0869CD383CFA}" dt="2025-06-09T06:43:24.043" v="290" actId="1035"/>
          <ac:spMkLst>
            <pc:docMk/>
            <pc:sldMk cId="662215785" sldId="1477"/>
            <ac:spMk id="34" creationId="{61A0EA8B-D98C-EBC2-61F5-45CD3B1FBF05}"/>
          </ac:spMkLst>
        </pc:spChg>
        <pc:spChg chg="mod">
          <ac:chgData name="Krishna Sharma" userId="daa697d5-8440-4694-9c7d-792884c08b9c" providerId="ADAL" clId="{D157C74D-6770-4162-923A-0869CD383CFA}" dt="2025-06-09T06:43:16.184" v="271"/>
          <ac:spMkLst>
            <pc:docMk/>
            <pc:sldMk cId="662215785" sldId="1477"/>
            <ac:spMk id="36" creationId="{CBD526EB-A826-9840-69DD-FC4357C17CD0}"/>
          </ac:spMkLst>
        </pc:spChg>
      </pc:sldChg>
      <pc:sldChg chg="new del">
        <pc:chgData name="Krishna Sharma" userId="daa697d5-8440-4694-9c7d-792884c08b9c" providerId="ADAL" clId="{D157C74D-6770-4162-923A-0869CD383CFA}" dt="2025-06-09T06:48:59.501" v="322" actId="680"/>
        <pc:sldMkLst>
          <pc:docMk/>
          <pc:sldMk cId="2551678323" sldId="1478"/>
        </pc:sldMkLst>
      </pc:sldChg>
      <pc:sldChg chg="addSp delSp modSp add mod ord modNotesTx">
        <pc:chgData name="Krishna Sharma" userId="daa697d5-8440-4694-9c7d-792884c08b9c" providerId="ADAL" clId="{D157C74D-6770-4162-923A-0869CD383CFA}" dt="2025-06-09T07:24:26.804" v="706" actId="14100"/>
        <pc:sldMkLst>
          <pc:docMk/>
          <pc:sldMk cId="3809681679" sldId="1478"/>
        </pc:sldMkLst>
        <pc:spChg chg="add mod">
          <ac:chgData name="Krishna Sharma" userId="daa697d5-8440-4694-9c7d-792884c08b9c" providerId="ADAL" clId="{D157C74D-6770-4162-923A-0869CD383CFA}" dt="2025-06-09T07:24:26.804" v="706" actId="14100"/>
          <ac:spMkLst>
            <pc:docMk/>
            <pc:sldMk cId="3809681679" sldId="1478"/>
            <ac:spMk id="3" creationId="{6A411022-3705-3C1C-F2BB-D7F4FE2CD854}"/>
          </ac:spMkLst>
        </pc:spChg>
      </pc:sldChg>
      <pc:sldChg chg="modSp add mod">
        <pc:chgData name="Krishna Sharma" userId="daa697d5-8440-4694-9c7d-792884c08b9c" providerId="ADAL" clId="{D157C74D-6770-4162-923A-0869CD383CFA}" dt="2025-06-09T06:56:12.355" v="359"/>
        <pc:sldMkLst>
          <pc:docMk/>
          <pc:sldMk cId="2015119999" sldId="1479"/>
        </pc:sldMkLst>
        <pc:spChg chg="mod">
          <ac:chgData name="Krishna Sharma" userId="daa697d5-8440-4694-9c7d-792884c08b9c" providerId="ADAL" clId="{D157C74D-6770-4162-923A-0869CD383CFA}" dt="2025-06-09T06:56:12.355" v="359"/>
          <ac:spMkLst>
            <pc:docMk/>
            <pc:sldMk cId="2015119999" sldId="1479"/>
            <ac:spMk id="2" creationId="{BA7BCB71-916B-FC72-A2DD-D72F82770D0B}"/>
          </ac:spMkLst>
        </pc:spChg>
      </pc:sldChg>
      <pc:sldChg chg="add del ord">
        <pc:chgData name="Krishna Sharma" userId="daa697d5-8440-4694-9c7d-792884c08b9c" providerId="ADAL" clId="{D157C74D-6770-4162-923A-0869CD383CFA}" dt="2025-06-09T07:20:05.009" v="687" actId="47"/>
        <pc:sldMkLst>
          <pc:docMk/>
          <pc:sldMk cId="1933363585" sldId="1480"/>
        </pc:sldMkLst>
      </pc:sldChg>
      <pc:sldChg chg="delSp modSp add mod ord">
        <pc:chgData name="Krishna Sharma" userId="daa697d5-8440-4694-9c7d-792884c08b9c" providerId="ADAL" clId="{D157C74D-6770-4162-923A-0869CD383CFA}" dt="2025-06-09T07:06:58.292" v="556"/>
        <pc:sldMkLst>
          <pc:docMk/>
          <pc:sldMk cId="1844276349" sldId="1481"/>
        </pc:sldMkLst>
        <pc:spChg chg="mod">
          <ac:chgData name="Krishna Sharma" userId="daa697d5-8440-4694-9c7d-792884c08b9c" providerId="ADAL" clId="{D157C74D-6770-4162-923A-0869CD383CFA}" dt="2025-06-09T07:05:20.036" v="538" actId="20577"/>
          <ac:spMkLst>
            <pc:docMk/>
            <pc:sldMk cId="1844276349" sldId="1481"/>
            <ac:spMk id="2" creationId="{6B627059-58ED-6154-D70F-0E0A43F3AE77}"/>
          </ac:spMkLst>
        </pc:spChg>
        <pc:spChg chg="mod">
          <ac:chgData name="Krishna Sharma" userId="daa697d5-8440-4694-9c7d-792884c08b9c" providerId="ADAL" clId="{D157C74D-6770-4162-923A-0869CD383CFA}" dt="2025-06-09T07:05:52.424" v="545" actId="403"/>
          <ac:spMkLst>
            <pc:docMk/>
            <pc:sldMk cId="1844276349" sldId="1481"/>
            <ac:spMk id="13" creationId="{0E6C3ADF-3C38-95AE-FA9D-6512A63F2E8C}"/>
          </ac:spMkLst>
        </pc:spChg>
        <pc:spChg chg="mod">
          <ac:chgData name="Krishna Sharma" userId="daa697d5-8440-4694-9c7d-792884c08b9c" providerId="ADAL" clId="{D157C74D-6770-4162-923A-0869CD383CFA}" dt="2025-06-09T07:05:52.424" v="545" actId="403"/>
          <ac:spMkLst>
            <pc:docMk/>
            <pc:sldMk cId="1844276349" sldId="1481"/>
            <ac:spMk id="19" creationId="{99928174-1689-4F54-262B-42CF29CEDE3A}"/>
          </ac:spMkLst>
        </pc:spChg>
        <pc:spChg chg="mod">
          <ac:chgData name="Krishna Sharma" userId="daa697d5-8440-4694-9c7d-792884c08b9c" providerId="ADAL" clId="{D157C74D-6770-4162-923A-0869CD383CFA}" dt="2025-06-09T07:05:52.424" v="545" actId="403"/>
          <ac:spMkLst>
            <pc:docMk/>
            <pc:sldMk cId="1844276349" sldId="1481"/>
            <ac:spMk id="39" creationId="{5BEDA762-7FFC-3CC4-E83C-68DD762E7DE9}"/>
          </ac:spMkLst>
        </pc:spChg>
        <pc:spChg chg="mod">
          <ac:chgData name="Krishna Sharma" userId="daa697d5-8440-4694-9c7d-792884c08b9c" providerId="ADAL" clId="{D157C74D-6770-4162-923A-0869CD383CFA}" dt="2025-06-09T07:05:52.424" v="545" actId="403"/>
          <ac:spMkLst>
            <pc:docMk/>
            <pc:sldMk cId="1844276349" sldId="1481"/>
            <ac:spMk id="51" creationId="{5D7A3127-9047-E53F-9F29-B0A77DCD0882}"/>
          </ac:spMkLst>
        </pc:spChg>
        <pc:spChg chg="mod">
          <ac:chgData name="Krishna Sharma" userId="daa697d5-8440-4694-9c7d-792884c08b9c" providerId="ADAL" clId="{D157C74D-6770-4162-923A-0869CD383CFA}" dt="2025-06-09T07:05:52.424" v="545" actId="403"/>
          <ac:spMkLst>
            <pc:docMk/>
            <pc:sldMk cId="1844276349" sldId="1481"/>
            <ac:spMk id="66" creationId="{4A00A871-A5BD-C8A1-1DA2-0DCF6C3C1519}"/>
          </ac:spMkLst>
        </pc:spChg>
        <pc:spChg chg="mod">
          <ac:chgData name="Krishna Sharma" userId="daa697d5-8440-4694-9c7d-792884c08b9c" providerId="ADAL" clId="{D157C74D-6770-4162-923A-0869CD383CFA}" dt="2025-06-09T07:05:52.424" v="545" actId="403"/>
          <ac:spMkLst>
            <pc:docMk/>
            <pc:sldMk cId="1844276349" sldId="1481"/>
            <ac:spMk id="99" creationId="{F6825A0E-EB71-AD06-CC62-B3F855CAEA24}"/>
          </ac:spMkLst>
        </pc:spChg>
        <pc:spChg chg="mod">
          <ac:chgData name="Krishna Sharma" userId="daa697d5-8440-4694-9c7d-792884c08b9c" providerId="ADAL" clId="{D157C74D-6770-4162-923A-0869CD383CFA}" dt="2025-06-09T07:05:52.424" v="545" actId="403"/>
          <ac:spMkLst>
            <pc:docMk/>
            <pc:sldMk cId="1844276349" sldId="1481"/>
            <ac:spMk id="101" creationId="{60A80505-C862-33A6-FA80-9AC6C2F0F488}"/>
          </ac:spMkLst>
        </pc:spChg>
        <pc:spChg chg="mod">
          <ac:chgData name="Krishna Sharma" userId="daa697d5-8440-4694-9c7d-792884c08b9c" providerId="ADAL" clId="{D157C74D-6770-4162-923A-0869CD383CFA}" dt="2025-06-09T07:05:52.424" v="545" actId="403"/>
          <ac:spMkLst>
            <pc:docMk/>
            <pc:sldMk cId="1844276349" sldId="1481"/>
            <ac:spMk id="114" creationId="{4406044C-907A-3339-D719-8D11CAE7DE77}"/>
          </ac:spMkLst>
        </pc:spChg>
        <pc:spChg chg="mod">
          <ac:chgData name="Krishna Sharma" userId="daa697d5-8440-4694-9c7d-792884c08b9c" providerId="ADAL" clId="{D157C74D-6770-4162-923A-0869CD383CFA}" dt="2025-06-09T07:05:52.424" v="545" actId="403"/>
          <ac:spMkLst>
            <pc:docMk/>
            <pc:sldMk cId="1844276349" sldId="1481"/>
            <ac:spMk id="118" creationId="{E35C7E57-55FD-9EAF-79BF-9AEDBCC6D06B}"/>
          </ac:spMkLst>
        </pc:spChg>
        <pc:spChg chg="mod">
          <ac:chgData name="Krishna Sharma" userId="daa697d5-8440-4694-9c7d-792884c08b9c" providerId="ADAL" clId="{D157C74D-6770-4162-923A-0869CD383CFA}" dt="2025-06-09T07:05:52.424" v="545" actId="403"/>
          <ac:spMkLst>
            <pc:docMk/>
            <pc:sldMk cId="1844276349" sldId="1481"/>
            <ac:spMk id="142" creationId="{27B5C9EA-71E6-358A-37B2-70AD953DA721}"/>
          </ac:spMkLst>
        </pc:spChg>
        <pc:grpChg chg="mod">
          <ac:chgData name="Krishna Sharma" userId="daa697d5-8440-4694-9c7d-792884c08b9c" providerId="ADAL" clId="{D157C74D-6770-4162-923A-0869CD383CFA}" dt="2025-06-09T07:05:50.270" v="544" actId="1076"/>
          <ac:grpSpMkLst>
            <pc:docMk/>
            <pc:sldMk cId="1844276349" sldId="1481"/>
            <ac:grpSpMk id="10" creationId="{D89A8647-44AC-6F58-CA32-A4F894E54548}"/>
          </ac:grpSpMkLst>
        </pc:grpChg>
      </pc:sldChg>
      <pc:sldChg chg="add ord">
        <pc:chgData name="Krishna Sharma" userId="daa697d5-8440-4694-9c7d-792884c08b9c" providerId="ADAL" clId="{D157C74D-6770-4162-923A-0869CD383CFA}" dt="2025-06-09T07:07:49.572" v="565"/>
        <pc:sldMkLst>
          <pc:docMk/>
          <pc:sldMk cId="4159238697" sldId="1482"/>
        </pc:sldMkLst>
      </pc:sldChg>
      <pc:sldChg chg="addSp delSp modSp add mod">
        <pc:chgData name="Krishna Sharma" userId="daa697d5-8440-4694-9c7d-792884c08b9c" providerId="ADAL" clId="{D157C74D-6770-4162-923A-0869CD383CFA}" dt="2025-06-09T10:28:33.457" v="1254" actId="6549"/>
        <pc:sldMkLst>
          <pc:docMk/>
          <pc:sldMk cId="881074547" sldId="1483"/>
        </pc:sldMkLst>
        <pc:spChg chg="mod">
          <ac:chgData name="Krishna Sharma" userId="daa697d5-8440-4694-9c7d-792884c08b9c" providerId="ADAL" clId="{D157C74D-6770-4162-923A-0869CD383CFA}" dt="2025-06-09T10:28:33.457" v="1254" actId="6549"/>
          <ac:spMkLst>
            <pc:docMk/>
            <pc:sldMk cId="881074547" sldId="1483"/>
            <ac:spMk id="2" creationId="{AAC1CECF-8F08-D075-838A-BA6A3C5AD9CF}"/>
          </ac:spMkLst>
        </pc:spChg>
        <pc:spChg chg="add mod">
          <ac:chgData name="Krishna Sharma" userId="daa697d5-8440-4694-9c7d-792884c08b9c" providerId="ADAL" clId="{D157C74D-6770-4162-923A-0869CD383CFA}" dt="2025-06-09T07:41:16.631" v="862" actId="1076"/>
          <ac:spMkLst>
            <pc:docMk/>
            <pc:sldMk cId="881074547" sldId="1483"/>
            <ac:spMk id="9" creationId="{05C1C0F5-7F6A-18E0-A3F4-CBDA360447D1}"/>
          </ac:spMkLst>
        </pc:spChg>
        <pc:picChg chg="add mod">
          <ac:chgData name="Krishna Sharma" userId="daa697d5-8440-4694-9c7d-792884c08b9c" providerId="ADAL" clId="{D157C74D-6770-4162-923A-0869CD383CFA}" dt="2025-06-09T07:41:03.859" v="860" actId="1076"/>
          <ac:picMkLst>
            <pc:docMk/>
            <pc:sldMk cId="881074547" sldId="1483"/>
            <ac:picMk id="12" creationId="{6F13A107-7639-9DFB-3BC8-C691245F2328}"/>
          </ac:picMkLst>
        </pc:picChg>
      </pc:sldChg>
      <pc:sldChg chg="addSp delSp modSp add del mod ord">
        <pc:chgData name="Krishna Sharma" userId="daa697d5-8440-4694-9c7d-792884c08b9c" providerId="ADAL" clId="{D157C74D-6770-4162-923A-0869CD383CFA}" dt="2025-06-09T07:20:25.359" v="688" actId="47"/>
        <pc:sldMkLst>
          <pc:docMk/>
          <pc:sldMk cId="1716627481" sldId="1483"/>
        </pc:sldMkLst>
      </pc:sldChg>
      <pc:sldChg chg="addSp delSp modSp add mod ord">
        <pc:chgData name="Krishna Sharma" userId="daa697d5-8440-4694-9c7d-792884c08b9c" providerId="ADAL" clId="{D157C74D-6770-4162-923A-0869CD383CFA}" dt="2025-06-09T07:49:32.702" v="967" actId="20577"/>
        <pc:sldMkLst>
          <pc:docMk/>
          <pc:sldMk cId="4081262848" sldId="1484"/>
        </pc:sldMkLst>
        <pc:spChg chg="mod">
          <ac:chgData name="Krishna Sharma" userId="daa697d5-8440-4694-9c7d-792884c08b9c" providerId="ADAL" clId="{D157C74D-6770-4162-923A-0869CD383CFA}" dt="2025-06-09T07:49:32.702" v="967" actId="20577"/>
          <ac:spMkLst>
            <pc:docMk/>
            <pc:sldMk cId="4081262848" sldId="1484"/>
            <ac:spMk id="2" creationId="{B4AAD586-861F-7BD3-CF67-7D9ADFA7228F}"/>
          </ac:spMkLst>
        </pc:spChg>
        <pc:graphicFrameChg chg="add mod">
          <ac:chgData name="Krishna Sharma" userId="daa697d5-8440-4694-9c7d-792884c08b9c" providerId="ADAL" clId="{D157C74D-6770-4162-923A-0869CD383CFA}" dt="2025-06-09T07:47:02.139" v="922" actId="1076"/>
          <ac:graphicFrameMkLst>
            <pc:docMk/>
            <pc:sldMk cId="4081262848" sldId="1484"/>
            <ac:graphicFrameMk id="4" creationId="{9CE541A5-31BB-9AE8-2FD5-ED2EF7FF58D5}"/>
          </ac:graphicFrameMkLst>
        </pc:graphicFrameChg>
      </pc:sldChg>
      <pc:sldChg chg="add del">
        <pc:chgData name="Krishna Sharma" userId="daa697d5-8440-4694-9c7d-792884c08b9c" providerId="ADAL" clId="{D157C74D-6770-4162-923A-0869CD383CFA}" dt="2025-06-09T07:20:01.120" v="686" actId="47"/>
        <pc:sldMkLst>
          <pc:docMk/>
          <pc:sldMk cId="4215593577" sldId="1484"/>
        </pc:sldMkLst>
      </pc:sldChg>
      <pc:sldChg chg="addSp delSp modSp add mod ord">
        <pc:chgData name="Krishna Sharma" userId="daa697d5-8440-4694-9c7d-792884c08b9c" providerId="ADAL" clId="{D157C74D-6770-4162-923A-0869CD383CFA}" dt="2025-06-09T10:28:41.819" v="1255" actId="6549"/>
        <pc:sldMkLst>
          <pc:docMk/>
          <pc:sldMk cId="2521043094" sldId="1485"/>
        </pc:sldMkLst>
        <pc:spChg chg="mod">
          <ac:chgData name="Krishna Sharma" userId="daa697d5-8440-4694-9c7d-792884c08b9c" providerId="ADAL" clId="{D157C74D-6770-4162-923A-0869CD383CFA}" dt="2025-06-09T10:28:41.819" v="1255" actId="6549"/>
          <ac:spMkLst>
            <pc:docMk/>
            <pc:sldMk cId="2521043094" sldId="1485"/>
            <ac:spMk id="2" creationId="{3CD52E21-E1C3-150F-720A-92470B541E7B}"/>
          </ac:spMkLst>
        </pc:spChg>
        <pc:spChg chg="mod">
          <ac:chgData name="Krishna Sharma" userId="daa697d5-8440-4694-9c7d-792884c08b9c" providerId="ADAL" clId="{D157C74D-6770-4162-923A-0869CD383CFA}" dt="2025-06-09T07:48:11.860" v="946" actId="14100"/>
          <ac:spMkLst>
            <pc:docMk/>
            <pc:sldMk cId="2521043094" sldId="1485"/>
            <ac:spMk id="9" creationId="{3D85A627-3187-BA02-089C-7550BD8BA685}"/>
          </ac:spMkLst>
        </pc:spChg>
        <pc:picChg chg="add mod">
          <ac:chgData name="Krishna Sharma" userId="daa697d5-8440-4694-9c7d-792884c08b9c" providerId="ADAL" clId="{D157C74D-6770-4162-923A-0869CD383CFA}" dt="2025-06-09T07:49:11.044" v="960" actId="207"/>
          <ac:picMkLst>
            <pc:docMk/>
            <pc:sldMk cId="2521043094" sldId="1485"/>
            <ac:picMk id="6" creationId="{9FBA8219-004E-385B-2E23-4D0ADCFA6264}"/>
          </ac:picMkLst>
        </pc:picChg>
      </pc:sldChg>
      <pc:sldChg chg="modSp add mod">
        <pc:chgData name="Krishna Sharma" userId="daa697d5-8440-4694-9c7d-792884c08b9c" providerId="ADAL" clId="{D157C74D-6770-4162-923A-0869CD383CFA}" dt="2025-06-09T07:51:53.354" v="989"/>
        <pc:sldMkLst>
          <pc:docMk/>
          <pc:sldMk cId="245077087" sldId="1486"/>
        </pc:sldMkLst>
        <pc:spChg chg="mod">
          <ac:chgData name="Krishna Sharma" userId="daa697d5-8440-4694-9c7d-792884c08b9c" providerId="ADAL" clId="{D157C74D-6770-4162-923A-0869CD383CFA}" dt="2025-06-09T07:51:42.404" v="988" actId="20577"/>
          <ac:spMkLst>
            <pc:docMk/>
            <pc:sldMk cId="245077087" sldId="1486"/>
            <ac:spMk id="2" creationId="{4BCF82C5-129B-2324-F970-28DD8EB721D3}"/>
          </ac:spMkLst>
        </pc:spChg>
        <pc:graphicFrameChg chg="mod">
          <ac:chgData name="Krishna Sharma" userId="daa697d5-8440-4694-9c7d-792884c08b9c" providerId="ADAL" clId="{D157C74D-6770-4162-923A-0869CD383CFA}" dt="2025-06-09T07:51:53.354" v="989"/>
          <ac:graphicFrameMkLst>
            <pc:docMk/>
            <pc:sldMk cId="245077087" sldId="1486"/>
            <ac:graphicFrameMk id="4" creationId="{FDCA697E-4866-6D0E-CD20-AAF094CEBE61}"/>
          </ac:graphicFrameMkLst>
        </pc:graphicFrameChg>
      </pc:sldChg>
      <pc:sldChg chg="modSp add del mod ord">
        <pc:chgData name="Krishna Sharma" userId="daa697d5-8440-4694-9c7d-792884c08b9c" providerId="ADAL" clId="{D157C74D-6770-4162-923A-0869CD383CFA}" dt="2025-06-09T07:49:49.067" v="968" actId="47"/>
        <pc:sldMkLst>
          <pc:docMk/>
          <pc:sldMk cId="294609202" sldId="1486"/>
        </pc:sldMkLst>
      </pc:sldChg>
      <pc:sldChg chg="addSp delSp modSp add mod">
        <pc:chgData name="Krishna Sharma" userId="daa697d5-8440-4694-9c7d-792884c08b9c" providerId="ADAL" clId="{D157C74D-6770-4162-923A-0869CD383CFA}" dt="2025-06-09T10:28:50.034" v="1256" actId="6549"/>
        <pc:sldMkLst>
          <pc:docMk/>
          <pc:sldMk cId="1349145241" sldId="1487"/>
        </pc:sldMkLst>
        <pc:spChg chg="mod">
          <ac:chgData name="Krishna Sharma" userId="daa697d5-8440-4694-9c7d-792884c08b9c" providerId="ADAL" clId="{D157C74D-6770-4162-923A-0869CD383CFA}" dt="2025-06-09T10:28:50.034" v="1256" actId="6549"/>
          <ac:spMkLst>
            <pc:docMk/>
            <pc:sldMk cId="1349145241" sldId="1487"/>
            <ac:spMk id="2" creationId="{7B2C060C-C60C-CE5B-D0DF-D5EB2B3C2012}"/>
          </ac:spMkLst>
        </pc:spChg>
        <pc:spChg chg="mod">
          <ac:chgData name="Krishna Sharma" userId="daa697d5-8440-4694-9c7d-792884c08b9c" providerId="ADAL" clId="{D157C74D-6770-4162-923A-0869CD383CFA}" dt="2025-06-09T07:52:39.845" v="999" actId="20577"/>
          <ac:spMkLst>
            <pc:docMk/>
            <pc:sldMk cId="1349145241" sldId="1487"/>
            <ac:spMk id="9" creationId="{D654DD09-6F5D-3B43-9476-DB519F958288}"/>
          </ac:spMkLst>
        </pc:spChg>
        <pc:picChg chg="add mod">
          <ac:chgData name="Krishna Sharma" userId="daa697d5-8440-4694-9c7d-792884c08b9c" providerId="ADAL" clId="{D157C74D-6770-4162-923A-0869CD383CFA}" dt="2025-06-09T07:53:31.003" v="1007" actId="207"/>
          <ac:picMkLst>
            <pc:docMk/>
            <pc:sldMk cId="1349145241" sldId="1487"/>
            <ac:picMk id="5" creationId="{0C107D0D-9851-7A42-BF4A-0E4A072393F9}"/>
          </ac:picMkLst>
        </pc:picChg>
      </pc:sldChg>
      <pc:sldChg chg="addSp modSp add mod">
        <pc:chgData name="Krishna Sharma" userId="daa697d5-8440-4694-9c7d-792884c08b9c" providerId="ADAL" clId="{D157C74D-6770-4162-923A-0869CD383CFA}" dt="2025-06-09T10:43:00.065" v="1272"/>
        <pc:sldMkLst>
          <pc:docMk/>
          <pc:sldMk cId="4217181062" sldId="1488"/>
        </pc:sldMkLst>
      </pc:sldChg>
      <pc:sldChg chg="delSp modSp add mod">
        <pc:chgData name="Krishna Sharma" userId="daa697d5-8440-4694-9c7d-792884c08b9c" providerId="ADAL" clId="{D157C74D-6770-4162-923A-0869CD383CFA}" dt="2025-06-09T09:50:46.810" v="1234" actId="1076"/>
        <pc:sldMkLst>
          <pc:docMk/>
          <pc:sldMk cId="124745691" sldId="1489"/>
        </pc:sldMkLst>
      </pc:sldChg>
      <pc:sldChg chg="addSp delSp modSp add mod modNotesTx">
        <pc:chgData name="Krishna Sharma" userId="daa697d5-8440-4694-9c7d-792884c08b9c" providerId="ADAL" clId="{D157C74D-6770-4162-923A-0869CD383CFA}" dt="2025-06-09T11:02:09.164" v="1320" actId="20577"/>
        <pc:sldMkLst>
          <pc:docMk/>
          <pc:sldMk cId="2382565619" sldId="1490"/>
        </pc:sldMkLst>
        <pc:spChg chg="add del mod">
          <ac:chgData name="Krishna Sharma" userId="daa697d5-8440-4694-9c7d-792884c08b9c" providerId="ADAL" clId="{D157C74D-6770-4162-923A-0869CD383CFA}" dt="2025-06-09T10:42:34.485" v="1269"/>
          <ac:spMkLst>
            <pc:docMk/>
            <pc:sldMk cId="2382565619" sldId="1490"/>
            <ac:spMk id="24" creationId="{F002FE78-C408-59E6-0D86-C0FB5A81E40B}"/>
          </ac:spMkLst>
        </pc:spChg>
        <pc:spChg chg="add mod">
          <ac:chgData name="Krishna Sharma" userId="daa697d5-8440-4694-9c7d-792884c08b9c" providerId="ADAL" clId="{D157C74D-6770-4162-923A-0869CD383CFA}" dt="2025-06-09T10:59:45.361" v="1319" actId="15"/>
          <ac:spMkLst>
            <pc:docMk/>
            <pc:sldMk cId="2382565619" sldId="1490"/>
            <ac:spMk id="29" creationId="{C91268D8-237E-B0A0-6D47-AF4D5D059076}"/>
          </ac:spMkLst>
        </pc:spChg>
      </pc:sldChg>
      <pc:sldChg chg="addSp delSp modSp add mod ord">
        <pc:chgData name="Krishna Sharma" userId="daa697d5-8440-4694-9c7d-792884c08b9c" providerId="ADAL" clId="{D157C74D-6770-4162-923A-0869CD383CFA}" dt="2025-06-10T04:27:38.066" v="1844" actId="1076"/>
        <pc:sldMkLst>
          <pc:docMk/>
          <pc:sldMk cId="127296720" sldId="1491"/>
        </pc:sldMkLst>
        <pc:spChg chg="mod">
          <ac:chgData name="Krishna Sharma" userId="daa697d5-8440-4694-9c7d-792884c08b9c" providerId="ADAL" clId="{D157C74D-6770-4162-923A-0869CD383CFA}" dt="2025-06-09T11:27:43.956" v="1420" actId="20577"/>
          <ac:spMkLst>
            <pc:docMk/>
            <pc:sldMk cId="127296720" sldId="1491"/>
            <ac:spMk id="2" creationId="{A38A8F77-519A-026D-3805-5A86AE309536}"/>
          </ac:spMkLst>
        </pc:spChg>
        <pc:spChg chg="add mod">
          <ac:chgData name="Krishna Sharma" userId="daa697d5-8440-4694-9c7d-792884c08b9c" providerId="ADAL" clId="{D157C74D-6770-4162-923A-0869CD383CFA}" dt="2025-06-10T04:27:38.066" v="1844" actId="1076"/>
          <ac:spMkLst>
            <pc:docMk/>
            <pc:sldMk cId="127296720" sldId="1491"/>
            <ac:spMk id="9" creationId="{4E3BE4E1-3D74-CCC9-6E5F-3F16FC31ADE8}"/>
          </ac:spMkLst>
        </pc:spChg>
      </pc:sldChg>
      <pc:sldChg chg="addSp delSp modSp add mod ord">
        <pc:chgData name="Krishna Sharma" userId="daa697d5-8440-4694-9c7d-792884c08b9c" providerId="ADAL" clId="{D157C74D-6770-4162-923A-0869CD383CFA}" dt="2025-06-09T11:20:54.409" v="1405" actId="20577"/>
        <pc:sldMkLst>
          <pc:docMk/>
          <pc:sldMk cId="3658727067" sldId="1492"/>
        </pc:sldMkLst>
        <pc:spChg chg="mod">
          <ac:chgData name="Krishna Sharma" userId="daa697d5-8440-4694-9c7d-792884c08b9c" providerId="ADAL" clId="{D157C74D-6770-4162-923A-0869CD383CFA}" dt="2025-06-09T11:20:54.409" v="1405" actId="20577"/>
          <ac:spMkLst>
            <pc:docMk/>
            <pc:sldMk cId="3658727067" sldId="1492"/>
            <ac:spMk id="2" creationId="{FE67D942-ED8D-B289-DE91-1332626704EA}"/>
          </ac:spMkLst>
        </pc:spChg>
        <pc:spChg chg="add mod">
          <ac:chgData name="Krishna Sharma" userId="daa697d5-8440-4694-9c7d-792884c08b9c" providerId="ADAL" clId="{D157C74D-6770-4162-923A-0869CD383CFA}" dt="2025-06-09T11:20:36.405" v="1402" actId="15"/>
          <ac:spMkLst>
            <pc:docMk/>
            <pc:sldMk cId="3658727067" sldId="1492"/>
            <ac:spMk id="4" creationId="{0F0FFE69-10EE-CD5A-622D-8EFDD22DFC82}"/>
          </ac:spMkLst>
        </pc:spChg>
      </pc:sldChg>
      <pc:sldChg chg="addSp delSp modSp add mod">
        <pc:chgData name="Krishna Sharma" userId="daa697d5-8440-4694-9c7d-792884c08b9c" providerId="ADAL" clId="{D157C74D-6770-4162-923A-0869CD383CFA}" dt="2025-06-10T04:27:50.846" v="1856" actId="14100"/>
        <pc:sldMkLst>
          <pc:docMk/>
          <pc:sldMk cId="1158807392" sldId="1493"/>
        </pc:sldMkLst>
        <pc:spChg chg="mod">
          <ac:chgData name="Krishna Sharma" userId="daa697d5-8440-4694-9c7d-792884c08b9c" providerId="ADAL" clId="{D157C74D-6770-4162-923A-0869CD383CFA}" dt="2025-06-09T11:49:24.211" v="1543"/>
          <ac:spMkLst>
            <pc:docMk/>
            <pc:sldMk cId="1158807392" sldId="1493"/>
            <ac:spMk id="2" creationId="{64A51FB7-10EF-6A50-F373-1C2E9415A7BE}"/>
          </ac:spMkLst>
        </pc:spChg>
        <pc:spChg chg="add del mod">
          <ac:chgData name="Krishna Sharma" userId="daa697d5-8440-4694-9c7d-792884c08b9c" providerId="ADAL" clId="{D157C74D-6770-4162-923A-0869CD383CFA}" dt="2025-06-10T04:27:50.846" v="1856" actId="14100"/>
          <ac:spMkLst>
            <pc:docMk/>
            <pc:sldMk cId="1158807392" sldId="1493"/>
            <ac:spMk id="6" creationId="{3C5589BF-BA0B-1508-7CF6-12995291A67B}"/>
          </ac:spMkLst>
        </pc:spChg>
      </pc:sldChg>
      <pc:sldChg chg="addSp delSp modSp add mod ord">
        <pc:chgData name="Krishna Sharma" userId="daa697d5-8440-4694-9c7d-792884c08b9c" providerId="ADAL" clId="{D157C74D-6770-4162-923A-0869CD383CFA}" dt="2025-06-10T04:28:17.813" v="1860" actId="1076"/>
        <pc:sldMkLst>
          <pc:docMk/>
          <pc:sldMk cId="604848690" sldId="1494"/>
        </pc:sldMkLst>
        <pc:spChg chg="mod">
          <ac:chgData name="Krishna Sharma" userId="daa697d5-8440-4694-9c7d-792884c08b9c" providerId="ADAL" clId="{D157C74D-6770-4162-923A-0869CD383CFA}" dt="2025-06-09T11:50:39.420" v="1562"/>
          <ac:spMkLst>
            <pc:docMk/>
            <pc:sldMk cId="604848690" sldId="1494"/>
            <ac:spMk id="2" creationId="{65A0A03D-DB90-C1F4-FFC8-797F47F79FFA}"/>
          </ac:spMkLst>
        </pc:spChg>
        <pc:spChg chg="mod">
          <ac:chgData name="Krishna Sharma" userId="daa697d5-8440-4694-9c7d-792884c08b9c" providerId="ADAL" clId="{D157C74D-6770-4162-923A-0869CD383CFA}" dt="2025-06-10T04:28:17.813" v="1860" actId="1076"/>
          <ac:spMkLst>
            <pc:docMk/>
            <pc:sldMk cId="604848690" sldId="1494"/>
            <ac:spMk id="9" creationId="{F9BE199A-4CDF-A0CC-A11A-17A40E158544}"/>
          </ac:spMkLst>
        </pc:spChg>
      </pc:sldChg>
      <pc:sldChg chg="addSp delSp modSp add mod">
        <pc:chgData name="Krishna Sharma" userId="daa697d5-8440-4694-9c7d-792884c08b9c" providerId="ADAL" clId="{D157C74D-6770-4162-923A-0869CD383CFA}" dt="2025-06-10T04:22:26.075" v="1816" actId="1076"/>
        <pc:sldMkLst>
          <pc:docMk/>
          <pc:sldMk cId="1130605282" sldId="1495"/>
        </pc:sldMkLst>
        <pc:spChg chg="mod">
          <ac:chgData name="Krishna Sharma" userId="daa697d5-8440-4694-9c7d-792884c08b9c" providerId="ADAL" clId="{D157C74D-6770-4162-923A-0869CD383CFA}" dt="2025-06-09T11:56:38.139" v="1575"/>
          <ac:spMkLst>
            <pc:docMk/>
            <pc:sldMk cId="1130605282" sldId="1495"/>
            <ac:spMk id="2" creationId="{3B855953-583E-F2FC-F34B-1DA3DC13678F}"/>
          </ac:spMkLst>
        </pc:spChg>
        <pc:spChg chg="add del mod">
          <ac:chgData name="Krishna Sharma" userId="daa697d5-8440-4694-9c7d-792884c08b9c" providerId="ADAL" clId="{D157C74D-6770-4162-923A-0869CD383CFA}" dt="2025-06-10T04:19:52.623" v="1784" actId="14100"/>
          <ac:spMkLst>
            <pc:docMk/>
            <pc:sldMk cId="1130605282" sldId="1495"/>
            <ac:spMk id="6" creationId="{5EF836A1-0AA6-6299-7E5B-B7E74D3BD900}"/>
          </ac:spMkLst>
        </pc:spChg>
        <pc:spChg chg="add mod">
          <ac:chgData name="Krishna Sharma" userId="daa697d5-8440-4694-9c7d-792884c08b9c" providerId="ADAL" clId="{D157C74D-6770-4162-923A-0869CD383CFA}" dt="2025-06-10T04:22:26.075" v="1816" actId="1076"/>
          <ac:spMkLst>
            <pc:docMk/>
            <pc:sldMk cId="1130605282" sldId="1495"/>
            <ac:spMk id="14" creationId="{7B828082-E77B-19E6-4C53-7B53635BBA7D}"/>
          </ac:spMkLst>
        </pc:spChg>
      </pc:sldChg>
      <pc:sldChg chg="addSp delSp modSp add mod">
        <pc:chgData name="Krishna Sharma" userId="daa697d5-8440-4694-9c7d-792884c08b9c" providerId="ADAL" clId="{D157C74D-6770-4162-923A-0869CD383CFA}" dt="2025-06-10T04:22:46.113" v="1819"/>
        <pc:sldMkLst>
          <pc:docMk/>
          <pc:sldMk cId="1523651696" sldId="1496"/>
        </pc:sldMkLst>
        <pc:spChg chg="mod">
          <ac:chgData name="Krishna Sharma" userId="daa697d5-8440-4694-9c7d-792884c08b9c" providerId="ADAL" clId="{D157C74D-6770-4162-923A-0869CD383CFA}" dt="2025-06-09T12:03:26.957" v="1615"/>
          <ac:spMkLst>
            <pc:docMk/>
            <pc:sldMk cId="1523651696" sldId="1496"/>
            <ac:spMk id="2" creationId="{4D4C6BF0-CDB7-DF7D-C439-6E9FF3AEFFB5}"/>
          </ac:spMkLst>
        </pc:spChg>
        <pc:spChg chg="add mod">
          <ac:chgData name="Krishna Sharma" userId="daa697d5-8440-4694-9c7d-792884c08b9c" providerId="ADAL" clId="{D157C74D-6770-4162-923A-0869CD383CFA}" dt="2025-06-10T04:22:46.113" v="1819"/>
          <ac:spMkLst>
            <pc:docMk/>
            <pc:sldMk cId="1523651696" sldId="1496"/>
            <ac:spMk id="12" creationId="{C63F1B04-C01C-C142-8B8C-45516A9FCFDB}"/>
          </ac:spMkLst>
        </pc:spChg>
      </pc:sldChg>
      <pc:sldChg chg="delSp modSp add del mod modShow">
        <pc:chgData name="Krishna Sharma" userId="daa697d5-8440-4694-9c7d-792884c08b9c" providerId="ADAL" clId="{D157C74D-6770-4162-923A-0869CD383CFA}" dt="2025-06-10T04:23:31.399" v="1824" actId="47"/>
        <pc:sldMkLst>
          <pc:docMk/>
          <pc:sldMk cId="2855602803" sldId="1497"/>
        </pc:sldMkLst>
      </pc:sldChg>
      <pc:sldChg chg="addSp delSp modSp add mod">
        <pc:chgData name="Krishna Sharma" userId="daa697d5-8440-4694-9c7d-792884c08b9c" providerId="ADAL" clId="{D157C74D-6770-4162-923A-0869CD383CFA}" dt="2025-06-10T04:28:08.600" v="1858" actId="1076"/>
        <pc:sldMkLst>
          <pc:docMk/>
          <pc:sldMk cId="2417004778" sldId="1498"/>
        </pc:sldMkLst>
        <pc:spChg chg="mod">
          <ac:chgData name="Krishna Sharma" userId="daa697d5-8440-4694-9c7d-792884c08b9c" providerId="ADAL" clId="{D157C74D-6770-4162-923A-0869CD383CFA}" dt="2025-06-10T04:01:49.959" v="1668" actId="14100"/>
          <ac:spMkLst>
            <pc:docMk/>
            <pc:sldMk cId="2417004778" sldId="1498"/>
            <ac:spMk id="6" creationId="{29A99055-28EB-EE49-3710-66FA4C49B1DF}"/>
          </ac:spMkLst>
        </pc:spChg>
        <pc:spChg chg="add mod">
          <ac:chgData name="Krishna Sharma" userId="daa697d5-8440-4694-9c7d-792884c08b9c" providerId="ADAL" clId="{D157C74D-6770-4162-923A-0869CD383CFA}" dt="2025-06-10T04:28:08.600" v="1858" actId="1076"/>
          <ac:spMkLst>
            <pc:docMk/>
            <pc:sldMk cId="2417004778" sldId="1498"/>
            <ac:spMk id="14" creationId="{E8336370-A5C8-6E57-FD3E-8C53224DA7A3}"/>
          </ac:spMkLst>
        </pc:spChg>
      </pc:sldChg>
      <pc:sldChg chg="addSp delSp modSp add mod ord">
        <pc:chgData name="Krishna Sharma" userId="daa697d5-8440-4694-9c7d-792884c08b9c" providerId="ADAL" clId="{D157C74D-6770-4162-923A-0869CD383CFA}" dt="2025-06-10T04:27:29.207" v="1842" actId="1076"/>
        <pc:sldMkLst>
          <pc:docMk/>
          <pc:sldMk cId="88185852" sldId="1499"/>
        </pc:sldMkLst>
        <pc:spChg chg="mod">
          <ac:chgData name="Krishna Sharma" userId="daa697d5-8440-4694-9c7d-792884c08b9c" providerId="ADAL" clId="{D157C74D-6770-4162-923A-0869CD383CFA}" dt="2025-06-10T04:07:23.833" v="1688" actId="14100"/>
          <ac:spMkLst>
            <pc:docMk/>
            <pc:sldMk cId="88185852" sldId="1499"/>
            <ac:spMk id="6" creationId="{94A61F51-0B5B-84EF-348B-090A07A3937C}"/>
          </ac:spMkLst>
        </pc:spChg>
        <pc:spChg chg="add mod">
          <ac:chgData name="Krishna Sharma" userId="daa697d5-8440-4694-9c7d-792884c08b9c" providerId="ADAL" clId="{D157C74D-6770-4162-923A-0869CD383CFA}" dt="2025-06-10T04:27:29.207" v="1842" actId="1076"/>
          <ac:spMkLst>
            <pc:docMk/>
            <pc:sldMk cId="88185852" sldId="1499"/>
            <ac:spMk id="14" creationId="{C0F26019-6664-1212-F6DD-B8B47EB3DD91}"/>
          </ac:spMkLst>
        </pc:spChg>
      </pc:sldChg>
      <pc:sldChg chg="addSp delSp modSp add mod">
        <pc:chgData name="Krishna Sharma" userId="daa697d5-8440-4694-9c7d-792884c08b9c" providerId="ADAL" clId="{D157C74D-6770-4162-923A-0869CD383CFA}" dt="2025-06-10T04:17:09.369" v="1773" actId="1076"/>
        <pc:sldMkLst>
          <pc:docMk/>
          <pc:sldMk cId="1739768020" sldId="1500"/>
        </pc:sldMkLst>
        <pc:spChg chg="mod">
          <ac:chgData name="Krishna Sharma" userId="daa697d5-8440-4694-9c7d-792884c08b9c" providerId="ADAL" clId="{D157C74D-6770-4162-923A-0869CD383CFA}" dt="2025-06-10T04:17:09.369" v="1773" actId="1076"/>
          <ac:spMkLst>
            <pc:docMk/>
            <pc:sldMk cId="1739768020" sldId="1500"/>
            <ac:spMk id="9" creationId="{80DCCF5A-1195-80C9-1C43-0EF76043730E}"/>
          </ac:spMkLst>
        </pc:spChg>
        <pc:spChg chg="mod">
          <ac:chgData name="Krishna Sharma" userId="daa697d5-8440-4694-9c7d-792884c08b9c" providerId="ADAL" clId="{D157C74D-6770-4162-923A-0869CD383CFA}" dt="2025-06-10T04:16:48.787" v="1765" actId="1036"/>
          <ac:spMkLst>
            <pc:docMk/>
            <pc:sldMk cId="1739768020" sldId="1500"/>
            <ac:spMk id="11" creationId="{EBEA6C93-FC23-4EB1-4A3B-F47DDA88AFD3}"/>
          </ac:spMkLst>
        </pc:spChg>
      </pc:sldChg>
      <pc:sldChg chg="addSp delSp modSp add mod">
        <pc:chgData name="Krishna Sharma" userId="daa697d5-8440-4694-9c7d-792884c08b9c" providerId="ADAL" clId="{D157C74D-6770-4162-923A-0869CD383CFA}" dt="2025-06-10T04:22:38.758" v="1818" actId="1076"/>
        <pc:sldMkLst>
          <pc:docMk/>
          <pc:sldMk cId="740212731" sldId="1501"/>
        </pc:sldMkLst>
        <pc:spChg chg="mod">
          <ac:chgData name="Krishna Sharma" userId="daa697d5-8440-4694-9c7d-792884c08b9c" providerId="ADAL" clId="{D157C74D-6770-4162-923A-0869CD383CFA}" dt="2025-06-10T04:22:38.758" v="1818" actId="1076"/>
          <ac:spMkLst>
            <pc:docMk/>
            <pc:sldMk cId="740212731" sldId="1501"/>
            <ac:spMk id="9" creationId="{5F4FCD5C-7A9F-861F-A6EF-661A75FA2F93}"/>
          </ac:spMkLst>
        </pc:spChg>
      </pc:sldChg>
      <pc:sldChg chg="addSp delSp modSp add mod">
        <pc:chgData name="Krishna Sharma" userId="daa697d5-8440-4694-9c7d-792884c08b9c" providerId="ADAL" clId="{D157C74D-6770-4162-923A-0869CD383CFA}" dt="2025-06-10T04:23:04.671" v="1823"/>
        <pc:sldMkLst>
          <pc:docMk/>
          <pc:sldMk cId="3432880316" sldId="1502"/>
        </pc:sldMkLst>
        <pc:spChg chg="mod">
          <ac:chgData name="Krishna Sharma" userId="daa697d5-8440-4694-9c7d-792884c08b9c" providerId="ADAL" clId="{D157C74D-6770-4162-923A-0869CD383CFA}" dt="2025-06-10T04:22:59.756" v="1822" actId="1076"/>
          <ac:spMkLst>
            <pc:docMk/>
            <pc:sldMk cId="3432880316" sldId="1502"/>
            <ac:spMk id="9" creationId="{F33B87E6-563E-03A2-292F-D265FB36DB8F}"/>
          </ac:spMkLst>
        </pc:spChg>
      </pc:sldChg>
      <pc:sldChg chg="modSp add mod">
        <pc:chgData name="Krishna Sharma" userId="daa697d5-8440-4694-9c7d-792884c08b9c" providerId="ADAL" clId="{D157C74D-6770-4162-923A-0869CD383CFA}" dt="2025-06-10T04:37:32.356" v="1926" actId="14100"/>
        <pc:sldMkLst>
          <pc:docMk/>
          <pc:sldMk cId="1746005339" sldId="1503"/>
        </pc:sldMkLst>
      </pc:sldChg>
      <pc:sldChg chg="addSp delSp modSp add mod">
        <pc:chgData name="Krishna Sharma" userId="daa697d5-8440-4694-9c7d-792884c08b9c" providerId="ADAL" clId="{D157C74D-6770-4162-923A-0869CD383CFA}" dt="2025-06-10T04:37:02.137" v="1922" actId="1076"/>
        <pc:sldMkLst>
          <pc:docMk/>
          <pc:sldMk cId="3370607659" sldId="1504"/>
        </pc:sldMkLst>
        <pc:spChg chg="mod">
          <ac:chgData name="Krishna Sharma" userId="daa697d5-8440-4694-9c7d-792884c08b9c" providerId="ADAL" clId="{D157C74D-6770-4162-923A-0869CD383CFA}" dt="2025-06-10T04:31:11.480" v="1873" actId="20577"/>
          <ac:spMkLst>
            <pc:docMk/>
            <pc:sldMk cId="3370607659" sldId="1504"/>
            <ac:spMk id="2" creationId="{64C1C827-EFEB-5D9F-583C-AB91412DE78C}"/>
          </ac:spMkLst>
        </pc:spChg>
        <pc:graphicFrameChg chg="add mod modGraphic">
          <ac:chgData name="Krishna Sharma" userId="daa697d5-8440-4694-9c7d-792884c08b9c" providerId="ADAL" clId="{D157C74D-6770-4162-923A-0869CD383CFA}" dt="2025-06-10T04:37:02.137" v="1922" actId="1076"/>
          <ac:graphicFrameMkLst>
            <pc:docMk/>
            <pc:sldMk cId="3370607659" sldId="1504"/>
            <ac:graphicFrameMk id="4" creationId="{46EF9EF4-6CE7-D863-FAE1-5F1008A6A553}"/>
          </ac:graphicFrameMkLst>
        </pc:graphicFrameChg>
      </pc:sldChg>
      <pc:sldChg chg="delSp modSp add mod">
        <pc:chgData name="Krishna Sharma" userId="daa697d5-8440-4694-9c7d-792884c08b9c" providerId="ADAL" clId="{D157C74D-6770-4162-923A-0869CD383CFA}" dt="2025-06-10T04:40:38.601" v="1955" actId="1076"/>
        <pc:sldMkLst>
          <pc:docMk/>
          <pc:sldMk cId="2490475139" sldId="1505"/>
        </pc:sldMkLst>
        <pc:spChg chg="mod">
          <ac:chgData name="Krishna Sharma" userId="daa697d5-8440-4694-9c7d-792884c08b9c" providerId="ADAL" clId="{D157C74D-6770-4162-923A-0869CD383CFA}" dt="2025-06-10T04:40:38.601" v="1955" actId="1076"/>
          <ac:spMkLst>
            <pc:docMk/>
            <pc:sldMk cId="2490475139" sldId="1505"/>
            <ac:spMk id="8" creationId="{47747E2B-1626-9959-A4B4-E9E1A1EC3CD2}"/>
          </ac:spMkLst>
        </pc:spChg>
        <pc:spChg chg="mod">
          <ac:chgData name="Krishna Sharma" userId="daa697d5-8440-4694-9c7d-792884c08b9c" providerId="ADAL" clId="{D157C74D-6770-4162-923A-0869CD383CFA}" dt="2025-06-10T04:40:27.389" v="1954" actId="1076"/>
          <ac:spMkLst>
            <pc:docMk/>
            <pc:sldMk cId="2490475139" sldId="1505"/>
            <ac:spMk id="39" creationId="{772CA891-2104-6DBB-20A6-378E089EE3A7}"/>
          </ac:spMkLst>
        </pc:spChg>
        <pc:spChg chg="mod">
          <ac:chgData name="Krishna Sharma" userId="daa697d5-8440-4694-9c7d-792884c08b9c" providerId="ADAL" clId="{D157C74D-6770-4162-923A-0869CD383CFA}" dt="2025-06-10T04:40:27.389" v="1954" actId="1076"/>
          <ac:spMkLst>
            <pc:docMk/>
            <pc:sldMk cId="2490475139" sldId="1505"/>
            <ac:spMk id="40" creationId="{F6C4A6B5-B578-93E0-F319-F5C333100C1B}"/>
          </ac:spMkLst>
        </pc:spChg>
        <pc:spChg chg="mod">
          <ac:chgData name="Krishna Sharma" userId="daa697d5-8440-4694-9c7d-792884c08b9c" providerId="ADAL" clId="{D157C74D-6770-4162-923A-0869CD383CFA}" dt="2025-06-10T04:40:27.389" v="1954" actId="1076"/>
          <ac:spMkLst>
            <pc:docMk/>
            <pc:sldMk cId="2490475139" sldId="1505"/>
            <ac:spMk id="41" creationId="{7C47AE17-1505-E860-DAA2-FE3365AC34FF}"/>
          </ac:spMkLst>
        </pc:spChg>
        <pc:spChg chg="mod">
          <ac:chgData name="Krishna Sharma" userId="daa697d5-8440-4694-9c7d-792884c08b9c" providerId="ADAL" clId="{D157C74D-6770-4162-923A-0869CD383CFA}" dt="2025-06-10T04:40:38.601" v="1955" actId="1076"/>
          <ac:spMkLst>
            <pc:docMk/>
            <pc:sldMk cId="2490475139" sldId="1505"/>
            <ac:spMk id="43" creationId="{8F1909F1-60C5-3515-8CEC-0C2AB1412AEA}"/>
          </ac:spMkLst>
        </pc:spChg>
        <pc:spChg chg="mod">
          <ac:chgData name="Krishna Sharma" userId="daa697d5-8440-4694-9c7d-792884c08b9c" providerId="ADAL" clId="{D157C74D-6770-4162-923A-0869CD383CFA}" dt="2025-06-10T04:40:38.601" v="1955" actId="1076"/>
          <ac:spMkLst>
            <pc:docMk/>
            <pc:sldMk cId="2490475139" sldId="1505"/>
            <ac:spMk id="44" creationId="{0976656F-D64B-DDF3-C64F-B31A1F35FBD4}"/>
          </ac:spMkLst>
        </pc:spChg>
        <pc:spChg chg="mod">
          <ac:chgData name="Krishna Sharma" userId="daa697d5-8440-4694-9c7d-792884c08b9c" providerId="ADAL" clId="{D157C74D-6770-4162-923A-0869CD383CFA}" dt="2025-06-10T04:40:38.601" v="1955" actId="1076"/>
          <ac:spMkLst>
            <pc:docMk/>
            <pc:sldMk cId="2490475139" sldId="1505"/>
            <ac:spMk id="45" creationId="{2EC0FFEF-C85D-500C-08B7-CE0E52DFE428}"/>
          </ac:spMkLst>
        </pc:spChg>
      </pc:sldChg>
    </pc:docChg>
  </pc:docChgLst>
  <pc:docChgLst>
    <pc:chgData name="Divya Rank" userId="8a86f94f-bc51-45b1-baba-7f5d30607298" providerId="ADAL" clId="{12126C74-8380-4416-AB41-D42486FEE1A5}"/>
    <pc:docChg chg="undo redo custSel addSld delSld modSld sldOrd modMainMaster modSection">
      <pc:chgData name="Divya Rank" userId="8a86f94f-bc51-45b1-baba-7f5d30607298" providerId="ADAL" clId="{12126C74-8380-4416-AB41-D42486FEE1A5}" dt="2025-06-16T07:53:46.962" v="6262"/>
      <pc:docMkLst>
        <pc:docMk/>
      </pc:docMkLst>
      <pc:sldChg chg="addSp delSp modSp add mod">
        <pc:chgData name="Divya Rank" userId="8a86f94f-bc51-45b1-baba-7f5d30607298" providerId="ADAL" clId="{12126C74-8380-4416-AB41-D42486FEE1A5}" dt="2025-06-11T07:06:39.185" v="21" actId="34135"/>
        <pc:sldMkLst>
          <pc:docMk/>
          <pc:sldMk cId="2282331957" sldId="262"/>
        </pc:sldMkLst>
        <pc:spChg chg="add mod">
          <ac:chgData name="Divya Rank" userId="8a86f94f-bc51-45b1-baba-7f5d30607298" providerId="ADAL" clId="{12126C74-8380-4416-AB41-D42486FEE1A5}" dt="2025-06-11T07:06:39.185" v="21" actId="34135"/>
          <ac:spMkLst>
            <pc:docMk/>
            <pc:sldMk cId="2282331957" sldId="262"/>
            <ac:spMk id="2" creationId="{35454B52-9638-52B6-19C1-C64920F07B94}"/>
          </ac:spMkLst>
        </pc:spChg>
        <pc:spChg chg="mod">
          <ac:chgData name="Divya Rank" userId="8a86f94f-bc51-45b1-baba-7f5d30607298" providerId="ADAL" clId="{12126C74-8380-4416-AB41-D42486FEE1A5}" dt="2025-06-11T06:45:55.203" v="8" actId="2711"/>
          <ac:spMkLst>
            <pc:docMk/>
            <pc:sldMk cId="2282331957" sldId="262"/>
            <ac:spMk id="6" creationId="{F99805CA-1365-C982-314B-00E5023089A9}"/>
          </ac:spMkLst>
        </pc:spChg>
        <pc:spChg chg="mod">
          <ac:chgData name="Divya Rank" userId="8a86f94f-bc51-45b1-baba-7f5d30607298" providerId="ADAL" clId="{12126C74-8380-4416-AB41-D42486FEE1A5}" dt="2025-06-11T06:45:55.203" v="8" actId="2711"/>
          <ac:spMkLst>
            <pc:docMk/>
            <pc:sldMk cId="2282331957" sldId="262"/>
            <ac:spMk id="8" creationId="{C2F5D6E1-B61C-2E58-DE46-ABC05A337F1A}"/>
          </ac:spMkLst>
        </pc:spChg>
        <pc:spChg chg="mod">
          <ac:chgData name="Divya Rank" userId="8a86f94f-bc51-45b1-baba-7f5d30607298" providerId="ADAL" clId="{12126C74-8380-4416-AB41-D42486FEE1A5}" dt="2025-06-11T06:45:55.203" v="8" actId="2711"/>
          <ac:spMkLst>
            <pc:docMk/>
            <pc:sldMk cId="2282331957" sldId="262"/>
            <ac:spMk id="9" creationId="{43986088-41C2-B2CB-CC32-64E283422548}"/>
          </ac:spMkLst>
        </pc:spChg>
        <pc:spChg chg="mod">
          <ac:chgData name="Divya Rank" userId="8a86f94f-bc51-45b1-baba-7f5d30607298" providerId="ADAL" clId="{12126C74-8380-4416-AB41-D42486FEE1A5}" dt="2025-06-11T06:45:55.203" v="8" actId="2711"/>
          <ac:spMkLst>
            <pc:docMk/>
            <pc:sldMk cId="2282331957" sldId="262"/>
            <ac:spMk id="11" creationId="{8291C7EF-7A53-0CC3-D585-FF413CB06EBC}"/>
          </ac:spMkLst>
        </pc:spChg>
        <pc:spChg chg="mod">
          <ac:chgData name="Divya Rank" userId="8a86f94f-bc51-45b1-baba-7f5d30607298" providerId="ADAL" clId="{12126C74-8380-4416-AB41-D42486FEE1A5}" dt="2025-06-11T06:45:55.203" v="8" actId="2711"/>
          <ac:spMkLst>
            <pc:docMk/>
            <pc:sldMk cId="2282331957" sldId="262"/>
            <ac:spMk id="15" creationId="{441BCBE2-D31B-672C-3BCC-1AC744207A94}"/>
          </ac:spMkLst>
        </pc:spChg>
        <pc:spChg chg="mod">
          <ac:chgData name="Divya Rank" userId="8a86f94f-bc51-45b1-baba-7f5d30607298" providerId="ADAL" clId="{12126C74-8380-4416-AB41-D42486FEE1A5}" dt="2025-06-11T06:45:55.203" v="8" actId="2711"/>
          <ac:spMkLst>
            <pc:docMk/>
            <pc:sldMk cId="2282331957" sldId="262"/>
            <ac:spMk id="18" creationId="{BA2F60B9-0B9E-BA62-621F-2C66F1E3C6EF}"/>
          </ac:spMkLst>
        </pc:spChg>
        <pc:spChg chg="mod">
          <ac:chgData name="Divya Rank" userId="8a86f94f-bc51-45b1-baba-7f5d30607298" providerId="ADAL" clId="{12126C74-8380-4416-AB41-D42486FEE1A5}" dt="2025-06-11T06:45:55.203" v="8" actId="2711"/>
          <ac:spMkLst>
            <pc:docMk/>
            <pc:sldMk cId="2282331957" sldId="262"/>
            <ac:spMk id="19" creationId="{437B6A3F-A57D-511F-27F9-F16760D28B0B}"/>
          </ac:spMkLst>
        </pc:spChg>
        <pc:spChg chg="mod">
          <ac:chgData name="Divya Rank" userId="8a86f94f-bc51-45b1-baba-7f5d30607298" providerId="ADAL" clId="{12126C74-8380-4416-AB41-D42486FEE1A5}" dt="2025-06-11T06:45:55.203" v="8" actId="2711"/>
          <ac:spMkLst>
            <pc:docMk/>
            <pc:sldMk cId="2282331957" sldId="262"/>
            <ac:spMk id="26" creationId="{EFCAAAB8-52EE-F587-3C22-A0508E1096BF}"/>
          </ac:spMkLst>
        </pc:spChg>
        <pc:spChg chg="mod">
          <ac:chgData name="Divya Rank" userId="8a86f94f-bc51-45b1-baba-7f5d30607298" providerId="ADAL" clId="{12126C74-8380-4416-AB41-D42486FEE1A5}" dt="2025-06-11T06:45:55.203" v="8" actId="2711"/>
          <ac:spMkLst>
            <pc:docMk/>
            <pc:sldMk cId="2282331957" sldId="262"/>
            <ac:spMk id="27" creationId="{81AE5BB2-C272-61BE-6B2B-D15AB291FFF3}"/>
          </ac:spMkLst>
        </pc:spChg>
        <pc:spChg chg="mod">
          <ac:chgData name="Divya Rank" userId="8a86f94f-bc51-45b1-baba-7f5d30607298" providerId="ADAL" clId="{12126C74-8380-4416-AB41-D42486FEE1A5}" dt="2025-06-11T06:45:55.203" v="8" actId="2711"/>
          <ac:spMkLst>
            <pc:docMk/>
            <pc:sldMk cId="2282331957" sldId="262"/>
            <ac:spMk id="28" creationId="{3BDF4142-5E72-215C-6205-AC8B811B550C}"/>
          </ac:spMkLst>
        </pc:spChg>
      </pc:sldChg>
      <pc:sldChg chg="modSp mod">
        <pc:chgData name="Divya Rank" userId="8a86f94f-bc51-45b1-baba-7f5d30607298" providerId="ADAL" clId="{12126C74-8380-4416-AB41-D42486FEE1A5}" dt="2025-06-14T04:11:19.111" v="6062" actId="2710"/>
        <pc:sldMkLst>
          <pc:docMk/>
          <pc:sldMk cId="2593176626" sldId="1272"/>
        </pc:sldMkLst>
        <pc:spChg chg="mod">
          <ac:chgData name="Divya Rank" userId="8a86f94f-bc51-45b1-baba-7f5d30607298" providerId="ADAL" clId="{12126C74-8380-4416-AB41-D42486FEE1A5}" dt="2025-06-14T04:11:09.398" v="6061" actId="1036"/>
          <ac:spMkLst>
            <pc:docMk/>
            <pc:sldMk cId="2593176626" sldId="1272"/>
            <ac:spMk id="2" creationId="{62751020-4B87-5CA4-19EA-74A3470AD369}"/>
          </ac:spMkLst>
        </pc:spChg>
        <pc:graphicFrameChg chg="modGraphic">
          <ac:chgData name="Divya Rank" userId="8a86f94f-bc51-45b1-baba-7f5d30607298" providerId="ADAL" clId="{12126C74-8380-4416-AB41-D42486FEE1A5}" dt="2025-06-14T04:11:19.111" v="6062" actId="2710"/>
          <ac:graphicFrameMkLst>
            <pc:docMk/>
            <pc:sldMk cId="2593176626" sldId="1272"/>
            <ac:graphicFrameMk id="13" creationId="{19E519E2-2134-4EF2-3A13-47DD86C33481}"/>
          </ac:graphicFrameMkLst>
        </pc:graphicFrameChg>
      </pc:sldChg>
      <pc:sldChg chg="modSp mod">
        <pc:chgData name="Divya Rank" userId="8a86f94f-bc51-45b1-baba-7f5d30607298" providerId="ADAL" clId="{12126C74-8380-4416-AB41-D42486FEE1A5}" dt="2025-06-11T06:46:14.920" v="9" actId="34135"/>
        <pc:sldMkLst>
          <pc:docMk/>
          <pc:sldMk cId="2481394761" sldId="1273"/>
        </pc:sldMkLst>
        <pc:picChg chg="mod">
          <ac:chgData name="Divya Rank" userId="8a86f94f-bc51-45b1-baba-7f5d30607298" providerId="ADAL" clId="{12126C74-8380-4416-AB41-D42486FEE1A5}" dt="2025-06-11T06:46:14.920" v="9" actId="34135"/>
          <ac:picMkLst>
            <pc:docMk/>
            <pc:sldMk cId="2481394761" sldId="1273"/>
            <ac:picMk id="3" creationId="{F602939C-685C-C6CE-2BA0-ACAF8FFBE931}"/>
          </ac:picMkLst>
        </pc:picChg>
      </pc:sldChg>
      <pc:sldChg chg="del">
        <pc:chgData name="Divya Rank" userId="8a86f94f-bc51-45b1-baba-7f5d30607298" providerId="ADAL" clId="{12126C74-8380-4416-AB41-D42486FEE1A5}" dt="2025-06-11T07:06:24.031" v="18" actId="47"/>
        <pc:sldMkLst>
          <pc:docMk/>
          <pc:sldMk cId="1725199093" sldId="1274"/>
        </pc:sldMkLst>
      </pc:sldChg>
      <pc:sldChg chg="modSp mod">
        <pc:chgData name="Divya Rank" userId="8a86f94f-bc51-45b1-baba-7f5d30607298" providerId="ADAL" clId="{12126C74-8380-4416-AB41-D42486FEE1A5}" dt="2025-06-13T10:20:33.227" v="139" actId="14100"/>
        <pc:sldMkLst>
          <pc:docMk/>
          <pc:sldMk cId="4195937019" sldId="1283"/>
        </pc:sldMkLst>
        <pc:spChg chg="mod">
          <ac:chgData name="Divya Rank" userId="8a86f94f-bc51-45b1-baba-7f5d30607298" providerId="ADAL" clId="{12126C74-8380-4416-AB41-D42486FEE1A5}" dt="2025-06-13T10:20:21.413" v="138" actId="1036"/>
          <ac:spMkLst>
            <pc:docMk/>
            <pc:sldMk cId="4195937019" sldId="1283"/>
            <ac:spMk id="2" creationId="{742E63C4-5843-AB38-C847-430624D55520}"/>
          </ac:spMkLst>
        </pc:spChg>
        <pc:picChg chg="mod">
          <ac:chgData name="Divya Rank" userId="8a86f94f-bc51-45b1-baba-7f5d30607298" providerId="ADAL" clId="{12126C74-8380-4416-AB41-D42486FEE1A5}" dt="2025-06-11T06:46:21.653" v="10" actId="34135"/>
          <ac:picMkLst>
            <pc:docMk/>
            <pc:sldMk cId="4195937019" sldId="1283"/>
            <ac:picMk id="5" creationId="{CCA19702-D85C-4458-FAE3-343DEF300483}"/>
          </ac:picMkLst>
        </pc:picChg>
        <pc:picChg chg="mod">
          <ac:chgData name="Divya Rank" userId="8a86f94f-bc51-45b1-baba-7f5d30607298" providerId="ADAL" clId="{12126C74-8380-4416-AB41-D42486FEE1A5}" dt="2025-06-13T10:20:33.227" v="139" actId="14100"/>
          <ac:picMkLst>
            <pc:docMk/>
            <pc:sldMk cId="4195937019" sldId="1283"/>
            <ac:picMk id="12" creationId="{EBBB47C9-AAF2-D7C8-42A5-7114B700E216}"/>
          </ac:picMkLst>
        </pc:picChg>
      </pc:sldChg>
      <pc:sldChg chg="delSp modSp mod">
        <pc:chgData name="Divya Rank" userId="8a86f94f-bc51-45b1-baba-7f5d30607298" providerId="ADAL" clId="{12126C74-8380-4416-AB41-D42486FEE1A5}" dt="2025-06-13T11:26:51.545" v="493" actId="12"/>
        <pc:sldMkLst>
          <pc:docMk/>
          <pc:sldMk cId="90865873" sldId="1284"/>
        </pc:sldMkLst>
        <pc:spChg chg="mod">
          <ac:chgData name="Divya Rank" userId="8a86f94f-bc51-45b1-baba-7f5d30607298" providerId="ADAL" clId="{12126C74-8380-4416-AB41-D42486FEE1A5}" dt="2025-06-13T10:13:54.516" v="52" actId="18245"/>
          <ac:spMkLst>
            <pc:docMk/>
            <pc:sldMk cId="90865873" sldId="1284"/>
            <ac:spMk id="4" creationId="{70F81B73-255A-D540-60CE-C494924B1B70}"/>
          </ac:spMkLst>
        </pc:spChg>
        <pc:spChg chg="mod">
          <ac:chgData name="Divya Rank" userId="8a86f94f-bc51-45b1-baba-7f5d30607298" providerId="ADAL" clId="{12126C74-8380-4416-AB41-D42486FEE1A5}" dt="2025-06-13T11:26:51.545" v="493" actId="12"/>
          <ac:spMkLst>
            <pc:docMk/>
            <pc:sldMk cId="90865873" sldId="1284"/>
            <ac:spMk id="5" creationId="{DDFF68D7-D225-F0AB-80A5-4AEA4AB3057B}"/>
          </ac:spMkLst>
        </pc:spChg>
        <pc:spChg chg="mod">
          <ac:chgData name="Divya Rank" userId="8a86f94f-bc51-45b1-baba-7f5d30607298" providerId="ADAL" clId="{12126C74-8380-4416-AB41-D42486FEE1A5}" dt="2025-06-13T10:13:54.516" v="52" actId="18245"/>
          <ac:spMkLst>
            <pc:docMk/>
            <pc:sldMk cId="90865873" sldId="1284"/>
            <ac:spMk id="6" creationId="{44C5FEED-BA93-D15A-BF13-0B49EA7B6D17}"/>
          </ac:spMkLst>
        </pc:spChg>
        <pc:spChg chg="mod">
          <ac:chgData name="Divya Rank" userId="8a86f94f-bc51-45b1-baba-7f5d30607298" providerId="ADAL" clId="{12126C74-8380-4416-AB41-D42486FEE1A5}" dt="2025-06-13T11:26:51.545" v="493" actId="12"/>
          <ac:spMkLst>
            <pc:docMk/>
            <pc:sldMk cId="90865873" sldId="1284"/>
            <ac:spMk id="9" creationId="{D0D887C5-81DF-19B4-ADDB-8FB4371BBCFE}"/>
          </ac:spMkLst>
        </pc:spChg>
        <pc:spChg chg="mod">
          <ac:chgData name="Divya Rank" userId="8a86f94f-bc51-45b1-baba-7f5d30607298" providerId="ADAL" clId="{12126C74-8380-4416-AB41-D42486FEE1A5}" dt="2025-06-13T10:14:08.733" v="55" actId="1035"/>
          <ac:spMkLst>
            <pc:docMk/>
            <pc:sldMk cId="90865873" sldId="1284"/>
            <ac:spMk id="10" creationId="{BA1684D8-65BC-CE30-F17C-161FDC15DC1A}"/>
          </ac:spMkLst>
        </pc:spChg>
        <pc:spChg chg="mod ord">
          <ac:chgData name="Divya Rank" userId="8a86f94f-bc51-45b1-baba-7f5d30607298" providerId="ADAL" clId="{12126C74-8380-4416-AB41-D42486FEE1A5}" dt="2025-06-13T11:26:51.545" v="493" actId="12"/>
          <ac:spMkLst>
            <pc:docMk/>
            <pc:sldMk cId="90865873" sldId="1284"/>
            <ac:spMk id="12" creationId="{8A2E595C-C0E5-04F9-A51E-6708F6637E9C}"/>
          </ac:spMkLst>
        </pc:spChg>
        <pc:spChg chg="mod">
          <ac:chgData name="Divya Rank" userId="8a86f94f-bc51-45b1-baba-7f5d30607298" providerId="ADAL" clId="{12126C74-8380-4416-AB41-D42486FEE1A5}" dt="2025-06-13T10:13:54.516" v="52" actId="18245"/>
          <ac:spMkLst>
            <pc:docMk/>
            <pc:sldMk cId="90865873" sldId="1284"/>
            <ac:spMk id="13" creationId="{412E8125-6BC9-707D-5684-EB8B87181AE0}"/>
          </ac:spMkLst>
        </pc:spChg>
        <pc:spChg chg="mod">
          <ac:chgData name="Divya Rank" userId="8a86f94f-bc51-45b1-baba-7f5d30607298" providerId="ADAL" clId="{12126C74-8380-4416-AB41-D42486FEE1A5}" dt="2025-06-13T11:26:51.545" v="493" actId="12"/>
          <ac:spMkLst>
            <pc:docMk/>
            <pc:sldMk cId="90865873" sldId="1284"/>
            <ac:spMk id="14" creationId="{42AC864F-0E3A-4C81-19B2-7F47E48BACCA}"/>
          </ac:spMkLst>
        </pc:spChg>
        <pc:spChg chg="mod">
          <ac:chgData name="Divya Rank" userId="8a86f94f-bc51-45b1-baba-7f5d30607298" providerId="ADAL" clId="{12126C74-8380-4416-AB41-D42486FEE1A5}" dt="2025-06-13T10:13:54.516" v="52" actId="18245"/>
          <ac:spMkLst>
            <pc:docMk/>
            <pc:sldMk cId="90865873" sldId="1284"/>
            <ac:spMk id="15" creationId="{5C04631E-0DBB-7893-7FBE-0DE3A1B8D4A6}"/>
          </ac:spMkLst>
        </pc:spChg>
        <pc:spChg chg="mod">
          <ac:chgData name="Divya Rank" userId="8a86f94f-bc51-45b1-baba-7f5d30607298" providerId="ADAL" clId="{12126C74-8380-4416-AB41-D42486FEE1A5}" dt="2025-06-13T11:26:51.545" v="493" actId="12"/>
          <ac:spMkLst>
            <pc:docMk/>
            <pc:sldMk cId="90865873" sldId="1284"/>
            <ac:spMk id="16" creationId="{9D42041D-B34B-8A66-C887-5F9C7D20BE1A}"/>
          </ac:spMkLst>
        </pc:spChg>
      </pc:sldChg>
      <pc:sldChg chg="modSp mod">
        <pc:chgData name="Divya Rank" userId="8a86f94f-bc51-45b1-baba-7f5d30607298" providerId="ADAL" clId="{12126C74-8380-4416-AB41-D42486FEE1A5}" dt="2025-06-13T10:24:08.537" v="169" actId="1076"/>
        <pc:sldMkLst>
          <pc:docMk/>
          <pc:sldMk cId="596106588" sldId="1287"/>
        </pc:sldMkLst>
        <pc:spChg chg="mod">
          <ac:chgData name="Divya Rank" userId="8a86f94f-bc51-45b1-baba-7f5d30607298" providerId="ADAL" clId="{12126C74-8380-4416-AB41-D42486FEE1A5}" dt="2025-06-13T10:23:57.354" v="168" actId="1076"/>
          <ac:spMkLst>
            <pc:docMk/>
            <pc:sldMk cId="596106588" sldId="1287"/>
            <ac:spMk id="6" creationId="{7D89F09E-81A3-F6FF-4864-BA6C84D5D1F2}"/>
          </ac:spMkLst>
        </pc:spChg>
        <pc:spChg chg="mod">
          <ac:chgData name="Divya Rank" userId="8a86f94f-bc51-45b1-baba-7f5d30607298" providerId="ADAL" clId="{12126C74-8380-4416-AB41-D42486FEE1A5}" dt="2025-06-13T10:24:08.537" v="169" actId="1076"/>
          <ac:spMkLst>
            <pc:docMk/>
            <pc:sldMk cId="596106588" sldId="1287"/>
            <ac:spMk id="9" creationId="{B1D4C2F4-6ECE-51FF-86A7-89F9277BF4F7}"/>
          </ac:spMkLst>
        </pc:spChg>
        <pc:spChg chg="mod">
          <ac:chgData name="Divya Rank" userId="8a86f94f-bc51-45b1-baba-7f5d30607298" providerId="ADAL" clId="{12126C74-8380-4416-AB41-D42486FEE1A5}" dt="2025-06-13T10:23:46.268" v="167" actId="1037"/>
          <ac:spMkLst>
            <pc:docMk/>
            <pc:sldMk cId="596106588" sldId="1287"/>
            <ac:spMk id="11" creationId="{36FD5F64-65B7-3873-58C9-959D8AD35DE1}"/>
          </ac:spMkLst>
        </pc:spChg>
      </pc:sldChg>
      <pc:sldChg chg="addSp modSp mod">
        <pc:chgData name="Divya Rank" userId="8a86f94f-bc51-45b1-baba-7f5d30607298" providerId="ADAL" clId="{12126C74-8380-4416-AB41-D42486FEE1A5}" dt="2025-06-13T10:25:26.195" v="191" actId="1036"/>
        <pc:sldMkLst>
          <pc:docMk/>
          <pc:sldMk cId="2250755200" sldId="1289"/>
        </pc:sldMkLst>
        <pc:spChg chg="mod">
          <ac:chgData name="Divya Rank" userId="8a86f94f-bc51-45b1-baba-7f5d30607298" providerId="ADAL" clId="{12126C74-8380-4416-AB41-D42486FEE1A5}" dt="2025-06-13T10:25:17.093" v="180" actId="1036"/>
          <ac:spMkLst>
            <pc:docMk/>
            <pc:sldMk cId="2250755200" sldId="1289"/>
            <ac:spMk id="9" creationId="{81E0B57C-7C1A-4F9C-D3AC-AC66C865EC55}"/>
          </ac:spMkLst>
        </pc:spChg>
        <pc:spChg chg="mod">
          <ac:chgData name="Divya Rank" userId="8a86f94f-bc51-45b1-baba-7f5d30607298" providerId="ADAL" clId="{12126C74-8380-4416-AB41-D42486FEE1A5}" dt="2025-06-13T10:25:17.093" v="180" actId="1036"/>
          <ac:spMkLst>
            <pc:docMk/>
            <pc:sldMk cId="2250755200" sldId="1289"/>
            <ac:spMk id="11" creationId="{7383F84E-554E-DE1C-2B5C-C40544C8D5CF}"/>
          </ac:spMkLst>
        </pc:spChg>
        <pc:grpChg chg="add mod">
          <ac:chgData name="Divya Rank" userId="8a86f94f-bc51-45b1-baba-7f5d30607298" providerId="ADAL" clId="{12126C74-8380-4416-AB41-D42486FEE1A5}" dt="2025-06-13T10:25:26.195" v="191" actId="1036"/>
          <ac:grpSpMkLst>
            <pc:docMk/>
            <pc:sldMk cId="2250755200" sldId="1289"/>
            <ac:grpSpMk id="5" creationId="{783C3D40-D157-D878-5E81-DA45BDC4C6A2}"/>
          </ac:grpSpMkLst>
        </pc:grpChg>
      </pc:sldChg>
      <pc:sldChg chg="modSp mod">
        <pc:chgData name="Divya Rank" userId="8a86f94f-bc51-45b1-baba-7f5d30607298" providerId="ADAL" clId="{12126C74-8380-4416-AB41-D42486FEE1A5}" dt="2025-06-13T10:25:54.657" v="202" actId="1035"/>
        <pc:sldMkLst>
          <pc:docMk/>
          <pc:sldMk cId="741064419" sldId="1292"/>
        </pc:sldMkLst>
        <pc:spChg chg="mod">
          <ac:chgData name="Divya Rank" userId="8a86f94f-bc51-45b1-baba-7f5d30607298" providerId="ADAL" clId="{12126C74-8380-4416-AB41-D42486FEE1A5}" dt="2025-06-13T10:25:54.657" v="202" actId="1035"/>
          <ac:spMkLst>
            <pc:docMk/>
            <pc:sldMk cId="741064419" sldId="1292"/>
            <ac:spMk id="11" creationId="{5A52A727-3D1B-8CE9-09D8-B48E32F15ABD}"/>
          </ac:spMkLst>
        </pc:spChg>
        <pc:spChg chg="mod">
          <ac:chgData name="Divya Rank" userId="8a86f94f-bc51-45b1-baba-7f5d30607298" providerId="ADAL" clId="{12126C74-8380-4416-AB41-D42486FEE1A5}" dt="2025-06-13T06:22:38.754" v="39" actId="1037"/>
          <ac:spMkLst>
            <pc:docMk/>
            <pc:sldMk cId="741064419" sldId="1292"/>
            <ac:spMk id="12" creationId="{02C78F7F-6A3B-3143-5832-280BA91411F7}"/>
          </ac:spMkLst>
        </pc:spChg>
        <pc:spChg chg="mod">
          <ac:chgData name="Divya Rank" userId="8a86f94f-bc51-45b1-baba-7f5d30607298" providerId="ADAL" clId="{12126C74-8380-4416-AB41-D42486FEE1A5}" dt="2025-06-13T10:25:54.657" v="202" actId="1035"/>
          <ac:spMkLst>
            <pc:docMk/>
            <pc:sldMk cId="741064419" sldId="1292"/>
            <ac:spMk id="31" creationId="{5989FC5E-B9B4-DAB8-AC47-69F5EEA600A9}"/>
          </ac:spMkLst>
        </pc:spChg>
      </pc:sldChg>
      <pc:sldChg chg="delSp modSp mod">
        <pc:chgData name="Divya Rank" userId="8a86f94f-bc51-45b1-baba-7f5d30607298" providerId="ADAL" clId="{12126C74-8380-4416-AB41-D42486FEE1A5}" dt="2025-06-13T10:29:32.847" v="269" actId="113"/>
        <pc:sldMkLst>
          <pc:docMk/>
          <pc:sldMk cId="1938175801" sldId="1295"/>
        </pc:sldMkLst>
        <pc:spChg chg="mod">
          <ac:chgData name="Divya Rank" userId="8a86f94f-bc51-45b1-baba-7f5d30607298" providerId="ADAL" clId="{12126C74-8380-4416-AB41-D42486FEE1A5}" dt="2025-06-13T10:29:22.730" v="267" actId="113"/>
          <ac:spMkLst>
            <pc:docMk/>
            <pc:sldMk cId="1938175801" sldId="1295"/>
            <ac:spMk id="5" creationId="{31609F18-75AC-2715-B24B-43CC71018F40}"/>
          </ac:spMkLst>
        </pc:spChg>
        <pc:spChg chg="mod">
          <ac:chgData name="Divya Rank" userId="8a86f94f-bc51-45b1-baba-7f5d30607298" providerId="ADAL" clId="{12126C74-8380-4416-AB41-D42486FEE1A5}" dt="2025-06-13T10:29:32.847" v="269" actId="113"/>
          <ac:spMkLst>
            <pc:docMk/>
            <pc:sldMk cId="1938175801" sldId="1295"/>
            <ac:spMk id="9" creationId="{97C9DB9E-E800-7B43-FA05-4CD8E41DF8D7}"/>
          </ac:spMkLst>
        </pc:spChg>
        <pc:spChg chg="mod">
          <ac:chgData name="Divya Rank" userId="8a86f94f-bc51-45b1-baba-7f5d30607298" providerId="ADAL" clId="{12126C74-8380-4416-AB41-D42486FEE1A5}" dt="2025-06-13T10:29:24.895" v="268" actId="113"/>
          <ac:spMkLst>
            <pc:docMk/>
            <pc:sldMk cId="1938175801" sldId="1295"/>
            <ac:spMk id="10" creationId="{628C96AC-21B9-44A4-951F-BD369CB89EE4}"/>
          </ac:spMkLst>
        </pc:spChg>
        <pc:grpChg chg="mod">
          <ac:chgData name="Divya Rank" userId="8a86f94f-bc51-45b1-baba-7f5d30607298" providerId="ADAL" clId="{12126C74-8380-4416-AB41-D42486FEE1A5}" dt="2025-06-13T10:27:37.653" v="246" actId="1036"/>
          <ac:grpSpMkLst>
            <pc:docMk/>
            <pc:sldMk cId="1938175801" sldId="1295"/>
            <ac:grpSpMk id="3" creationId="{9F38652F-3F8A-098C-8732-C1BB7B109119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5:41:59.989" v="5988"/>
        <pc:sldMkLst>
          <pc:docMk/>
          <pc:sldMk cId="2362717123" sldId="1301"/>
        </pc:sldMkLst>
        <pc:spChg chg="mod">
          <ac:chgData name="Divya Rank" userId="8a86f94f-bc51-45b1-baba-7f5d30607298" providerId="ADAL" clId="{12126C74-8380-4416-AB41-D42486FEE1A5}" dt="2025-06-13T15:40:13.851" v="5965" actId="1036"/>
          <ac:spMkLst>
            <pc:docMk/>
            <pc:sldMk cId="2362717123" sldId="1301"/>
            <ac:spMk id="2" creationId="{64F9DE22-C787-85C5-25D3-21B8170DAF81}"/>
          </ac:spMkLst>
        </pc:spChg>
        <pc:spChg chg="mod">
          <ac:chgData name="Divya Rank" userId="8a86f94f-bc51-45b1-baba-7f5d30607298" providerId="ADAL" clId="{12126C74-8380-4416-AB41-D42486FEE1A5}" dt="2025-06-13T15:37:49.880" v="5938" actId="14100"/>
          <ac:spMkLst>
            <pc:docMk/>
            <pc:sldMk cId="2362717123" sldId="1301"/>
            <ac:spMk id="12" creationId="{2CDF78B6-4A01-9988-9B6B-7393B82FA6E5}"/>
          </ac:spMkLst>
        </pc:spChg>
        <pc:spChg chg="mod">
          <ac:chgData name="Divya Rank" userId="8a86f94f-bc51-45b1-baba-7f5d30607298" providerId="ADAL" clId="{12126C74-8380-4416-AB41-D42486FEE1A5}" dt="2025-06-13T15:38:11.221" v="5948" actId="1036"/>
          <ac:spMkLst>
            <pc:docMk/>
            <pc:sldMk cId="2362717123" sldId="1301"/>
            <ac:spMk id="13" creationId="{7AA8D945-0157-C33A-3840-13FAD758F548}"/>
          </ac:spMkLst>
        </pc:spChg>
        <pc:spChg chg="mod">
          <ac:chgData name="Divya Rank" userId="8a86f94f-bc51-45b1-baba-7f5d30607298" providerId="ADAL" clId="{12126C74-8380-4416-AB41-D42486FEE1A5}" dt="2025-06-13T15:37:42.810" v="5937" actId="1035"/>
          <ac:spMkLst>
            <pc:docMk/>
            <pc:sldMk cId="2362717123" sldId="1301"/>
            <ac:spMk id="14" creationId="{E91495F2-D17C-7D1C-6860-4A3569025FDD}"/>
          </ac:spMkLst>
        </pc:spChg>
        <pc:spChg chg="mod">
          <ac:chgData name="Divya Rank" userId="8a86f94f-bc51-45b1-baba-7f5d30607298" providerId="ADAL" clId="{12126C74-8380-4416-AB41-D42486FEE1A5}" dt="2025-06-13T15:38:35.047" v="5950" actId="12"/>
          <ac:spMkLst>
            <pc:docMk/>
            <pc:sldMk cId="2362717123" sldId="1301"/>
            <ac:spMk id="15" creationId="{790178D4-2D2C-5A45-D4D4-68CD0E56BE6D}"/>
          </ac:spMkLst>
        </pc:spChg>
        <pc:spChg chg="mod">
          <ac:chgData name="Divya Rank" userId="8a86f94f-bc51-45b1-baba-7f5d30607298" providerId="ADAL" clId="{12126C74-8380-4416-AB41-D42486FEE1A5}" dt="2025-06-13T15:38:35.047" v="5950" actId="12"/>
          <ac:spMkLst>
            <pc:docMk/>
            <pc:sldMk cId="2362717123" sldId="1301"/>
            <ac:spMk id="16" creationId="{2881BE6F-BB38-BA7D-6D31-A8CEB3707C10}"/>
          </ac:spMkLst>
        </pc:spChg>
        <pc:spChg chg="mod">
          <ac:chgData name="Divya Rank" userId="8a86f94f-bc51-45b1-baba-7f5d30607298" providerId="ADAL" clId="{12126C74-8380-4416-AB41-D42486FEE1A5}" dt="2025-06-13T15:40:49.927" v="5977"/>
          <ac:spMkLst>
            <pc:docMk/>
            <pc:sldMk cId="2362717123" sldId="1301"/>
            <ac:spMk id="26" creationId="{738E1B21-F48E-C4A6-2F29-5FC2AF34D19C}"/>
          </ac:spMkLst>
        </pc:spChg>
        <pc:spChg chg="mod">
          <ac:chgData name="Divya Rank" userId="8a86f94f-bc51-45b1-baba-7f5d30607298" providerId="ADAL" clId="{12126C74-8380-4416-AB41-D42486FEE1A5}" dt="2025-06-13T15:40:49.927" v="5977"/>
          <ac:spMkLst>
            <pc:docMk/>
            <pc:sldMk cId="2362717123" sldId="1301"/>
            <ac:spMk id="29" creationId="{B70AE187-8E05-62A2-F0C7-FAB6A5872F97}"/>
          </ac:spMkLst>
        </pc:spChg>
        <pc:spChg chg="mod">
          <ac:chgData name="Divya Rank" userId="8a86f94f-bc51-45b1-baba-7f5d30607298" providerId="ADAL" clId="{12126C74-8380-4416-AB41-D42486FEE1A5}" dt="2025-06-13T15:40:49.927" v="5977"/>
          <ac:spMkLst>
            <pc:docMk/>
            <pc:sldMk cId="2362717123" sldId="1301"/>
            <ac:spMk id="30" creationId="{1C89995C-973D-9211-155D-680719357889}"/>
          </ac:spMkLst>
        </pc:spChg>
        <pc:spChg chg="mod">
          <ac:chgData name="Divya Rank" userId="8a86f94f-bc51-45b1-baba-7f5d30607298" providerId="ADAL" clId="{12126C74-8380-4416-AB41-D42486FEE1A5}" dt="2025-06-13T15:40:49.927" v="5977"/>
          <ac:spMkLst>
            <pc:docMk/>
            <pc:sldMk cId="2362717123" sldId="1301"/>
            <ac:spMk id="31" creationId="{08A8A03C-3F13-AA6E-6786-E5AA0E469685}"/>
          </ac:spMkLst>
        </pc:spChg>
        <pc:spChg chg="mod">
          <ac:chgData name="Divya Rank" userId="8a86f94f-bc51-45b1-baba-7f5d30607298" providerId="ADAL" clId="{12126C74-8380-4416-AB41-D42486FEE1A5}" dt="2025-06-13T15:41:59.989" v="5988"/>
          <ac:spMkLst>
            <pc:docMk/>
            <pc:sldMk cId="2362717123" sldId="1301"/>
            <ac:spMk id="32" creationId="{604782FD-763F-8A5C-89A0-EE80524E019E}"/>
          </ac:spMkLst>
        </pc:spChg>
        <pc:grpChg chg="add mod">
          <ac:chgData name="Divya Rank" userId="8a86f94f-bc51-45b1-baba-7f5d30607298" providerId="ADAL" clId="{12126C74-8380-4416-AB41-D42486FEE1A5}" dt="2025-06-13T15:41:33.196" v="5984" actId="1076"/>
          <ac:grpSpMkLst>
            <pc:docMk/>
            <pc:sldMk cId="2362717123" sldId="1301"/>
            <ac:grpSpMk id="25" creationId="{1ED57CD5-9077-3898-784A-CEC643B173AD}"/>
          </ac:grpSpMkLst>
        </pc:grpChg>
        <pc:grpChg chg="add mod">
          <ac:chgData name="Divya Rank" userId="8a86f94f-bc51-45b1-baba-7f5d30607298" providerId="ADAL" clId="{12126C74-8380-4416-AB41-D42486FEE1A5}" dt="2025-06-13T15:36:57.861" v="5912" actId="14100"/>
          <ac:grpSpMkLst>
            <pc:docMk/>
            <pc:sldMk cId="2362717123" sldId="1301"/>
            <ac:grpSpMk id="27" creationId="{85B59B88-2419-679A-C9AA-2D2050694E29}"/>
          </ac:grpSpMkLst>
        </pc:grpChg>
      </pc:sldChg>
      <pc:sldChg chg="del">
        <pc:chgData name="Divya Rank" userId="8a86f94f-bc51-45b1-baba-7f5d30607298" providerId="ADAL" clId="{12126C74-8380-4416-AB41-D42486FEE1A5}" dt="2025-06-13T15:44:43.227" v="6017" actId="47"/>
        <pc:sldMkLst>
          <pc:docMk/>
          <pc:sldMk cId="2474915344" sldId="1302"/>
        </pc:sldMkLst>
      </pc:sldChg>
      <pc:sldChg chg="addSp delSp modSp del mod">
        <pc:chgData name="Divya Rank" userId="8a86f94f-bc51-45b1-baba-7f5d30607298" providerId="ADAL" clId="{12126C74-8380-4416-AB41-D42486FEE1A5}" dt="2025-06-16T06:07:02.740" v="6204" actId="47"/>
        <pc:sldMkLst>
          <pc:docMk/>
          <pc:sldMk cId="4153874486" sldId="1305"/>
        </pc:sldMkLst>
      </pc:sldChg>
      <pc:sldChg chg="addSp modSp mod">
        <pc:chgData name="Divya Rank" userId="8a86f94f-bc51-45b1-baba-7f5d30607298" providerId="ADAL" clId="{12126C74-8380-4416-AB41-D42486FEE1A5}" dt="2025-06-13T11:33:58.814" v="581" actId="164"/>
        <pc:sldMkLst>
          <pc:docMk/>
          <pc:sldMk cId="1410339993" sldId="1319"/>
        </pc:sldMkLst>
        <pc:spChg chg="mod">
          <ac:chgData name="Divya Rank" userId="8a86f94f-bc51-45b1-baba-7f5d30607298" providerId="ADAL" clId="{12126C74-8380-4416-AB41-D42486FEE1A5}" dt="2025-06-13T11:32:29.547" v="561" actId="14100"/>
          <ac:spMkLst>
            <pc:docMk/>
            <pc:sldMk cId="1410339993" sldId="1319"/>
            <ac:spMk id="29" creationId="{B1E8FA31-7B38-9A8F-02DF-1E276EF2DC61}"/>
          </ac:spMkLst>
        </pc:spChg>
        <pc:spChg chg="mod">
          <ac:chgData name="Divya Rank" userId="8a86f94f-bc51-45b1-baba-7f5d30607298" providerId="ADAL" clId="{12126C74-8380-4416-AB41-D42486FEE1A5}" dt="2025-06-13T11:32:24.795" v="560" actId="1076"/>
          <ac:spMkLst>
            <pc:docMk/>
            <pc:sldMk cId="1410339993" sldId="1319"/>
            <ac:spMk id="30" creationId="{69F12A31-7B9F-E56C-A0C4-420F2D730E28}"/>
          </ac:spMkLst>
        </pc:spChg>
        <pc:spChg chg="mod">
          <ac:chgData name="Divya Rank" userId="8a86f94f-bc51-45b1-baba-7f5d30607298" providerId="ADAL" clId="{12126C74-8380-4416-AB41-D42486FEE1A5}" dt="2025-06-13T11:31:29.163" v="535" actId="2710"/>
          <ac:spMkLst>
            <pc:docMk/>
            <pc:sldMk cId="1410339993" sldId="1319"/>
            <ac:spMk id="31" creationId="{720B5260-FF86-0E91-EF2C-3BC98730C5B2}"/>
          </ac:spMkLst>
        </pc:spChg>
        <pc:spChg chg="mod">
          <ac:chgData name="Divya Rank" userId="8a86f94f-bc51-45b1-baba-7f5d30607298" providerId="ADAL" clId="{12126C74-8380-4416-AB41-D42486FEE1A5}" dt="2025-06-13T11:31:50.578" v="557" actId="1035"/>
          <ac:spMkLst>
            <pc:docMk/>
            <pc:sldMk cId="1410339993" sldId="1319"/>
            <ac:spMk id="32" creationId="{54E7D1E9-2CB6-E2DA-FD34-78B4F6F02D8D}"/>
          </ac:spMkLst>
        </pc:spChg>
        <pc:spChg chg="mod">
          <ac:chgData name="Divya Rank" userId="8a86f94f-bc51-45b1-baba-7f5d30607298" providerId="ADAL" clId="{12126C74-8380-4416-AB41-D42486FEE1A5}" dt="2025-06-13T11:33:12.660" v="568" actId="1076"/>
          <ac:spMkLst>
            <pc:docMk/>
            <pc:sldMk cId="1410339993" sldId="1319"/>
            <ac:spMk id="33" creationId="{224C8751-550D-238C-4899-A995F0DA97A1}"/>
          </ac:spMkLst>
        </pc:spChg>
        <pc:spChg chg="mod">
          <ac:chgData name="Divya Rank" userId="8a86f94f-bc51-45b1-baba-7f5d30607298" providerId="ADAL" clId="{12126C74-8380-4416-AB41-D42486FEE1A5}" dt="2025-06-13T11:31:29.163" v="535" actId="2710"/>
          <ac:spMkLst>
            <pc:docMk/>
            <pc:sldMk cId="1410339993" sldId="1319"/>
            <ac:spMk id="34" creationId="{BC9779E1-54A5-A63E-F6B0-8A72F20AF381}"/>
          </ac:spMkLst>
        </pc:spChg>
        <pc:spChg chg="mod">
          <ac:chgData name="Divya Rank" userId="8a86f94f-bc51-45b1-baba-7f5d30607298" providerId="ADAL" clId="{12126C74-8380-4416-AB41-D42486FEE1A5}" dt="2025-06-13T11:31:29.163" v="535" actId="2710"/>
          <ac:spMkLst>
            <pc:docMk/>
            <pc:sldMk cId="1410339993" sldId="1319"/>
            <ac:spMk id="35" creationId="{5CE0CEAF-8EBA-B954-FEEF-31426AF83A66}"/>
          </ac:spMkLst>
        </pc:spChg>
        <pc:spChg chg="mod">
          <ac:chgData name="Divya Rank" userId="8a86f94f-bc51-45b1-baba-7f5d30607298" providerId="ADAL" clId="{12126C74-8380-4416-AB41-D42486FEE1A5}" dt="2025-06-13T11:32:10.670" v="559" actId="1076"/>
          <ac:spMkLst>
            <pc:docMk/>
            <pc:sldMk cId="1410339993" sldId="1319"/>
            <ac:spMk id="36" creationId="{030414E4-0687-BE0B-013B-E9379A579763}"/>
          </ac:spMkLst>
        </pc:spChg>
        <pc:spChg chg="mod">
          <ac:chgData name="Divya Rank" userId="8a86f94f-bc51-45b1-baba-7f5d30607298" providerId="ADAL" clId="{12126C74-8380-4416-AB41-D42486FEE1A5}" dt="2025-06-13T11:31:29.163" v="535" actId="2710"/>
          <ac:spMkLst>
            <pc:docMk/>
            <pc:sldMk cId="1410339993" sldId="1319"/>
            <ac:spMk id="37" creationId="{E236F630-8507-2DF6-4B44-BB10765893EC}"/>
          </ac:spMkLst>
        </pc:spChg>
        <pc:spChg chg="mod">
          <ac:chgData name="Divya Rank" userId="8a86f94f-bc51-45b1-baba-7f5d30607298" providerId="ADAL" clId="{12126C74-8380-4416-AB41-D42486FEE1A5}" dt="2025-06-13T11:33:19.782" v="574" actId="1076"/>
          <ac:spMkLst>
            <pc:docMk/>
            <pc:sldMk cId="1410339993" sldId="1319"/>
            <ac:spMk id="38" creationId="{941F537B-2C55-4FC0-3448-8AEDB345861D}"/>
          </ac:spMkLst>
        </pc:spChg>
        <pc:spChg chg="mod">
          <ac:chgData name="Divya Rank" userId="8a86f94f-bc51-45b1-baba-7f5d30607298" providerId="ADAL" clId="{12126C74-8380-4416-AB41-D42486FEE1A5}" dt="2025-06-13T11:33:36.858" v="577" actId="1035"/>
          <ac:spMkLst>
            <pc:docMk/>
            <pc:sldMk cId="1410339993" sldId="1319"/>
            <ac:spMk id="39" creationId="{B96C09FC-B414-EFF9-455B-869024702ADA}"/>
          </ac:spMkLst>
        </pc:spChg>
        <pc:spChg chg="mod">
          <ac:chgData name="Divya Rank" userId="8a86f94f-bc51-45b1-baba-7f5d30607298" providerId="ADAL" clId="{12126C74-8380-4416-AB41-D42486FEE1A5}" dt="2025-06-13T11:31:29.163" v="535" actId="2710"/>
          <ac:spMkLst>
            <pc:docMk/>
            <pc:sldMk cId="1410339993" sldId="1319"/>
            <ac:spMk id="40" creationId="{F5914174-304D-401A-DE89-155431D6AD0A}"/>
          </ac:spMkLst>
        </pc:spChg>
        <pc:grpChg chg="mod">
          <ac:chgData name="Divya Rank" userId="8a86f94f-bc51-45b1-baba-7f5d30607298" providerId="ADAL" clId="{12126C74-8380-4416-AB41-D42486FEE1A5}" dt="2025-06-13T11:31:50.578" v="557" actId="1035"/>
          <ac:grpSpMkLst>
            <pc:docMk/>
            <pc:sldMk cId="1410339993" sldId="1319"/>
            <ac:grpSpMk id="3" creationId="{30C237C4-2C0A-35BB-671F-642DAFA98B76}"/>
          </ac:grpSpMkLst>
        </pc:grpChg>
        <pc:grpChg chg="mod">
          <ac:chgData name="Divya Rank" userId="8a86f94f-bc51-45b1-baba-7f5d30607298" providerId="ADAL" clId="{12126C74-8380-4416-AB41-D42486FEE1A5}" dt="2025-06-13T11:32:35.988" v="562" actId="14100"/>
          <ac:grpSpMkLst>
            <pc:docMk/>
            <pc:sldMk cId="1410339993" sldId="1319"/>
            <ac:grpSpMk id="5" creationId="{F2ADF535-3D4F-3BDE-4E96-7FDF4E4C4ACC}"/>
          </ac:grpSpMkLst>
        </pc:grpChg>
        <pc:grpChg chg="add">
          <ac:chgData name="Divya Rank" userId="8a86f94f-bc51-45b1-baba-7f5d30607298" providerId="ADAL" clId="{12126C74-8380-4416-AB41-D42486FEE1A5}" dt="2025-06-13T11:33:44.260" v="578" actId="164"/>
          <ac:grpSpMkLst>
            <pc:docMk/>
            <pc:sldMk cId="1410339993" sldId="1319"/>
            <ac:grpSpMk id="7" creationId="{34D0F469-0926-5E67-670B-EEBC116E230A}"/>
          </ac:grpSpMkLst>
        </pc:grpChg>
        <pc:grpChg chg="add">
          <ac:chgData name="Divya Rank" userId="8a86f94f-bc51-45b1-baba-7f5d30607298" providerId="ADAL" clId="{12126C74-8380-4416-AB41-D42486FEE1A5}" dt="2025-06-13T11:33:50.179" v="579" actId="164"/>
          <ac:grpSpMkLst>
            <pc:docMk/>
            <pc:sldMk cId="1410339993" sldId="1319"/>
            <ac:grpSpMk id="9" creationId="{4C4FA61A-A625-BF54-6A7E-8A7D3656262D}"/>
          </ac:grpSpMkLst>
        </pc:grpChg>
        <pc:grpChg chg="add">
          <ac:chgData name="Divya Rank" userId="8a86f94f-bc51-45b1-baba-7f5d30607298" providerId="ADAL" clId="{12126C74-8380-4416-AB41-D42486FEE1A5}" dt="2025-06-13T11:33:55.589" v="580" actId="164"/>
          <ac:grpSpMkLst>
            <pc:docMk/>
            <pc:sldMk cId="1410339993" sldId="1319"/>
            <ac:grpSpMk id="10" creationId="{0D6EE9D6-57F6-0049-7907-D0946D7A2ABD}"/>
          </ac:grpSpMkLst>
        </pc:grpChg>
        <pc:grpChg chg="add">
          <ac:chgData name="Divya Rank" userId="8a86f94f-bc51-45b1-baba-7f5d30607298" providerId="ADAL" clId="{12126C74-8380-4416-AB41-D42486FEE1A5}" dt="2025-06-13T11:33:58.814" v="581" actId="164"/>
          <ac:grpSpMkLst>
            <pc:docMk/>
            <pc:sldMk cId="1410339993" sldId="1319"/>
            <ac:grpSpMk id="11" creationId="{EAD80C80-C167-79C4-F501-295D6D6B9027}"/>
          </ac:grpSpMkLst>
        </pc:grpChg>
      </pc:sldChg>
      <pc:sldChg chg="delSp mod">
        <pc:chgData name="Divya Rank" userId="8a86f94f-bc51-45b1-baba-7f5d30607298" providerId="ADAL" clId="{12126C74-8380-4416-AB41-D42486FEE1A5}" dt="2025-06-13T11:34:32.560" v="582" actId="478"/>
        <pc:sldMkLst>
          <pc:docMk/>
          <pc:sldMk cId="4045290397" sldId="1320"/>
        </pc:sldMkLst>
      </pc:sldChg>
      <pc:sldChg chg="addSp delSp modSp mod">
        <pc:chgData name="Divya Rank" userId="8a86f94f-bc51-45b1-baba-7f5d30607298" providerId="ADAL" clId="{12126C74-8380-4416-AB41-D42486FEE1A5}" dt="2025-06-13T11:38:07.063" v="693" actId="1036"/>
        <pc:sldMkLst>
          <pc:docMk/>
          <pc:sldMk cId="2208417850" sldId="1325"/>
        </pc:sldMkLst>
        <pc:spChg chg="mod">
          <ac:chgData name="Divya Rank" userId="8a86f94f-bc51-45b1-baba-7f5d30607298" providerId="ADAL" clId="{12126C74-8380-4416-AB41-D42486FEE1A5}" dt="2025-06-13T11:36:33.762" v="606" actId="1076"/>
          <ac:spMkLst>
            <pc:docMk/>
            <pc:sldMk cId="2208417850" sldId="1325"/>
            <ac:spMk id="3" creationId="{9C69179B-5659-8128-A639-A3E4E02AC923}"/>
          </ac:spMkLst>
        </pc:spChg>
        <pc:spChg chg="mod">
          <ac:chgData name="Divya Rank" userId="8a86f94f-bc51-45b1-baba-7f5d30607298" providerId="ADAL" clId="{12126C74-8380-4416-AB41-D42486FEE1A5}" dt="2025-06-13T11:37:59.737" v="682" actId="1076"/>
          <ac:spMkLst>
            <pc:docMk/>
            <pc:sldMk cId="2208417850" sldId="1325"/>
            <ac:spMk id="6" creationId="{D9558A0F-1185-384C-1F1F-3AF0D5D0409B}"/>
          </ac:spMkLst>
        </pc:spChg>
        <pc:spChg chg="mod">
          <ac:chgData name="Divya Rank" userId="8a86f94f-bc51-45b1-baba-7f5d30607298" providerId="ADAL" clId="{12126C74-8380-4416-AB41-D42486FEE1A5}" dt="2025-06-13T11:37:01.985" v="638"/>
          <ac:spMkLst>
            <pc:docMk/>
            <pc:sldMk cId="2208417850" sldId="1325"/>
            <ac:spMk id="7" creationId="{C3ECD371-4EE3-C00B-E47E-49E9166B5172}"/>
          </ac:spMkLst>
        </pc:spChg>
        <pc:spChg chg="mod">
          <ac:chgData name="Divya Rank" userId="8a86f94f-bc51-45b1-baba-7f5d30607298" providerId="ADAL" clId="{12126C74-8380-4416-AB41-D42486FEE1A5}" dt="2025-06-13T11:37:35.983" v="677" actId="12"/>
          <ac:spMkLst>
            <pc:docMk/>
            <pc:sldMk cId="2208417850" sldId="1325"/>
            <ac:spMk id="10" creationId="{5FDCD170-5C23-42B8-DED3-1711178CF5DB}"/>
          </ac:spMkLst>
        </pc:spChg>
        <pc:spChg chg="mod">
          <ac:chgData name="Divya Rank" userId="8a86f94f-bc51-45b1-baba-7f5d30607298" providerId="ADAL" clId="{12126C74-8380-4416-AB41-D42486FEE1A5}" dt="2025-06-13T11:37:01.985" v="638"/>
          <ac:spMkLst>
            <pc:docMk/>
            <pc:sldMk cId="2208417850" sldId="1325"/>
            <ac:spMk id="11" creationId="{886440AF-C8B1-3FF1-20E8-29E65ED9A95B}"/>
          </ac:spMkLst>
        </pc:spChg>
        <pc:spChg chg="mod">
          <ac:chgData name="Divya Rank" userId="8a86f94f-bc51-45b1-baba-7f5d30607298" providerId="ADAL" clId="{12126C74-8380-4416-AB41-D42486FEE1A5}" dt="2025-06-13T11:37:43.020" v="678" actId="1076"/>
          <ac:spMkLst>
            <pc:docMk/>
            <pc:sldMk cId="2208417850" sldId="1325"/>
            <ac:spMk id="14" creationId="{A51E77F2-3EA2-E2D7-7B15-D88054616755}"/>
          </ac:spMkLst>
        </pc:spChg>
        <pc:spChg chg="mod">
          <ac:chgData name="Divya Rank" userId="8a86f94f-bc51-45b1-baba-7f5d30607298" providerId="ADAL" clId="{12126C74-8380-4416-AB41-D42486FEE1A5}" dt="2025-06-13T11:37:01.985" v="638"/>
          <ac:spMkLst>
            <pc:docMk/>
            <pc:sldMk cId="2208417850" sldId="1325"/>
            <ac:spMk id="15" creationId="{58AD6CE5-918A-AA9E-BC7B-95D257F6A65B}"/>
          </ac:spMkLst>
        </pc:spChg>
        <pc:spChg chg="mod">
          <ac:chgData name="Divya Rank" userId="8a86f94f-bc51-45b1-baba-7f5d30607298" providerId="ADAL" clId="{12126C74-8380-4416-AB41-D42486FEE1A5}" dt="2025-06-13T11:37:35.983" v="677" actId="12"/>
          <ac:spMkLst>
            <pc:docMk/>
            <pc:sldMk cId="2208417850" sldId="1325"/>
            <ac:spMk id="17" creationId="{6733F7F0-9205-9DBA-C2DC-1B247159EFB9}"/>
          </ac:spMkLst>
        </pc:spChg>
        <pc:spChg chg="mod">
          <ac:chgData name="Divya Rank" userId="8a86f94f-bc51-45b1-baba-7f5d30607298" providerId="ADAL" clId="{12126C74-8380-4416-AB41-D42486FEE1A5}" dt="2025-06-13T11:37:01.985" v="638"/>
          <ac:spMkLst>
            <pc:docMk/>
            <pc:sldMk cId="2208417850" sldId="1325"/>
            <ac:spMk id="18" creationId="{2F52BA08-A7F3-1DEA-EF31-C8BC8007C060}"/>
          </ac:spMkLst>
        </pc:spChg>
        <pc:grpChg chg="mod">
          <ac:chgData name="Divya Rank" userId="8a86f94f-bc51-45b1-baba-7f5d30607298" providerId="ADAL" clId="{12126C74-8380-4416-AB41-D42486FEE1A5}" dt="2025-06-13T11:37:01.985" v="638"/>
          <ac:grpSpMkLst>
            <pc:docMk/>
            <pc:sldMk cId="2208417850" sldId="1325"/>
            <ac:grpSpMk id="5" creationId="{BAC6E82B-F829-BBFC-6F63-D026659EAB49}"/>
          </ac:grpSpMkLst>
        </pc:grpChg>
        <pc:grpChg chg="mod">
          <ac:chgData name="Divya Rank" userId="8a86f94f-bc51-45b1-baba-7f5d30607298" providerId="ADAL" clId="{12126C74-8380-4416-AB41-D42486FEE1A5}" dt="2025-06-13T11:35:24.591" v="586"/>
          <ac:grpSpMkLst>
            <pc:docMk/>
            <pc:sldMk cId="2208417850" sldId="1325"/>
            <ac:grpSpMk id="21" creationId="{60BD976E-FA55-8032-21CB-CE9CCAAFDF03}"/>
          </ac:grpSpMkLst>
        </pc:grpChg>
        <pc:grpChg chg="mod">
          <ac:chgData name="Divya Rank" userId="8a86f94f-bc51-45b1-baba-7f5d30607298" providerId="ADAL" clId="{12126C74-8380-4416-AB41-D42486FEE1A5}" dt="2025-06-13T11:35:38.153" v="592"/>
          <ac:grpSpMkLst>
            <pc:docMk/>
            <pc:sldMk cId="2208417850" sldId="1325"/>
            <ac:grpSpMk id="23" creationId="{E7A4A3A3-FB1B-1850-754A-E930D02F62CC}"/>
          </ac:grpSpMkLst>
        </pc:grpChg>
        <pc:grpChg chg="add mod">
          <ac:chgData name="Divya Rank" userId="8a86f94f-bc51-45b1-baba-7f5d30607298" providerId="ADAL" clId="{12126C74-8380-4416-AB41-D42486FEE1A5}" dt="2025-06-13T11:38:07.063" v="693" actId="1036"/>
          <ac:grpSpMkLst>
            <pc:docMk/>
            <pc:sldMk cId="2208417850" sldId="1325"/>
            <ac:grpSpMk id="24" creationId="{5061B59B-9225-BB44-92DC-C47A9826BCA6}"/>
          </ac:grpSpMkLst>
        </pc:grpChg>
        <pc:picChg chg="mod">
          <ac:chgData name="Divya Rank" userId="8a86f94f-bc51-45b1-baba-7f5d30607298" providerId="ADAL" clId="{12126C74-8380-4416-AB41-D42486FEE1A5}" dt="2025-06-13T11:35:13.490" v="583" actId="1076"/>
          <ac:picMkLst>
            <pc:docMk/>
            <pc:sldMk cId="2208417850" sldId="1325"/>
            <ac:picMk id="5122" creationId="{99FF16FD-6264-D17A-2A41-D883A3BE3179}"/>
          </ac:picMkLst>
        </pc:picChg>
      </pc:sldChg>
      <pc:sldChg chg="addSp delSp modSp mod">
        <pc:chgData name="Divya Rank" userId="8a86f94f-bc51-45b1-baba-7f5d30607298" providerId="ADAL" clId="{12126C74-8380-4416-AB41-D42486FEE1A5}" dt="2025-06-14T04:11:46.375" v="6064" actId="1036"/>
        <pc:sldMkLst>
          <pc:docMk/>
          <pc:sldMk cId="2422551007" sldId="1326"/>
        </pc:sldMkLst>
        <pc:spChg chg="mod">
          <ac:chgData name="Divya Rank" userId="8a86f94f-bc51-45b1-baba-7f5d30607298" providerId="ADAL" clId="{12126C74-8380-4416-AB41-D42486FEE1A5}" dt="2025-06-14T04:11:46.375" v="6064" actId="1036"/>
          <ac:spMkLst>
            <pc:docMk/>
            <pc:sldMk cId="2422551007" sldId="1326"/>
            <ac:spMk id="2" creationId="{9FE8E975-B007-5F01-7997-C23AF145B557}"/>
          </ac:spMkLst>
        </pc:spChg>
        <pc:spChg chg="add mod">
          <ac:chgData name="Divya Rank" userId="8a86f94f-bc51-45b1-baba-7f5d30607298" providerId="ADAL" clId="{12126C74-8380-4416-AB41-D42486FEE1A5}" dt="2025-06-13T11:47:00.110" v="786"/>
          <ac:spMkLst>
            <pc:docMk/>
            <pc:sldMk cId="2422551007" sldId="1326"/>
            <ac:spMk id="10" creationId="{D7EA8120-C29D-E677-BC65-B16630DD4D36}"/>
          </ac:spMkLst>
        </pc:spChg>
        <pc:spChg chg="mod">
          <ac:chgData name="Divya Rank" userId="8a86f94f-bc51-45b1-baba-7f5d30607298" providerId="ADAL" clId="{12126C74-8380-4416-AB41-D42486FEE1A5}" dt="2025-06-13T12:05:29.956" v="1106" actId="1076"/>
          <ac:spMkLst>
            <pc:docMk/>
            <pc:sldMk cId="2422551007" sldId="1326"/>
            <ac:spMk id="16" creationId="{68E931DF-9AB8-AF5D-7D11-58F2C66682B6}"/>
          </ac:spMkLst>
        </pc:spChg>
        <pc:spChg chg="mod">
          <ac:chgData name="Divya Rank" userId="8a86f94f-bc51-45b1-baba-7f5d30607298" providerId="ADAL" clId="{12126C74-8380-4416-AB41-D42486FEE1A5}" dt="2025-06-13T11:47:12.846" v="787"/>
          <ac:spMkLst>
            <pc:docMk/>
            <pc:sldMk cId="2422551007" sldId="1326"/>
            <ac:spMk id="17" creationId="{AE8D7485-6973-852A-EFC6-2243C703B4BE}"/>
          </ac:spMkLst>
        </pc:spChg>
        <pc:spChg chg="mod">
          <ac:chgData name="Divya Rank" userId="8a86f94f-bc51-45b1-baba-7f5d30607298" providerId="ADAL" clId="{12126C74-8380-4416-AB41-D42486FEE1A5}" dt="2025-06-13T12:05:35.896" v="1107" actId="1076"/>
          <ac:spMkLst>
            <pc:docMk/>
            <pc:sldMk cId="2422551007" sldId="1326"/>
            <ac:spMk id="18" creationId="{957E2C22-7894-A83E-E054-0316E13A155E}"/>
          </ac:spMkLst>
        </pc:spChg>
        <pc:spChg chg="mod">
          <ac:chgData name="Divya Rank" userId="8a86f94f-bc51-45b1-baba-7f5d30607298" providerId="ADAL" clId="{12126C74-8380-4416-AB41-D42486FEE1A5}" dt="2025-06-13T11:47:12.846" v="787"/>
          <ac:spMkLst>
            <pc:docMk/>
            <pc:sldMk cId="2422551007" sldId="1326"/>
            <ac:spMk id="19" creationId="{5F043D69-5497-3046-82C3-F478A737F324}"/>
          </ac:spMkLst>
        </pc:spChg>
        <pc:spChg chg="mod">
          <ac:chgData name="Divya Rank" userId="8a86f94f-bc51-45b1-baba-7f5d30607298" providerId="ADAL" clId="{12126C74-8380-4416-AB41-D42486FEE1A5}" dt="2025-06-13T12:00:09.225" v="1034" actId="1036"/>
          <ac:spMkLst>
            <pc:docMk/>
            <pc:sldMk cId="2422551007" sldId="1326"/>
            <ac:spMk id="20" creationId="{9FF2549E-3C56-C21B-A1E6-D2A76B9720BE}"/>
          </ac:spMkLst>
        </pc:spChg>
        <pc:spChg chg="mod">
          <ac:chgData name="Divya Rank" userId="8a86f94f-bc51-45b1-baba-7f5d30607298" providerId="ADAL" clId="{12126C74-8380-4416-AB41-D42486FEE1A5}" dt="2025-06-13T11:47:12.846" v="787"/>
          <ac:spMkLst>
            <pc:docMk/>
            <pc:sldMk cId="2422551007" sldId="1326"/>
            <ac:spMk id="21" creationId="{60498FCA-AA2F-3A23-A2D7-C907E8308564}"/>
          </ac:spMkLst>
        </pc:spChg>
        <pc:spChg chg="mod">
          <ac:chgData name="Divya Rank" userId="8a86f94f-bc51-45b1-baba-7f5d30607298" providerId="ADAL" clId="{12126C74-8380-4416-AB41-D42486FEE1A5}" dt="2025-06-13T12:00:09.225" v="1034" actId="1036"/>
          <ac:spMkLst>
            <pc:docMk/>
            <pc:sldMk cId="2422551007" sldId="1326"/>
            <ac:spMk id="22" creationId="{D2BA5267-8DB3-39E4-F563-1BA93D6540C7}"/>
          </ac:spMkLst>
        </pc:spChg>
        <pc:spChg chg="mod">
          <ac:chgData name="Divya Rank" userId="8a86f94f-bc51-45b1-baba-7f5d30607298" providerId="ADAL" clId="{12126C74-8380-4416-AB41-D42486FEE1A5}" dt="2025-06-13T11:47:12.846" v="787"/>
          <ac:spMkLst>
            <pc:docMk/>
            <pc:sldMk cId="2422551007" sldId="1326"/>
            <ac:spMk id="23" creationId="{6B47706F-3311-D00B-E8CD-6E8F628C3BDE}"/>
          </ac:spMkLst>
        </pc:spChg>
        <pc:grpChg chg="add mod">
          <ac:chgData name="Divya Rank" userId="8a86f94f-bc51-45b1-baba-7f5d30607298" providerId="ADAL" clId="{12126C74-8380-4416-AB41-D42486FEE1A5}" dt="2025-06-13T11:47:12.846" v="787"/>
          <ac:grpSpMkLst>
            <pc:docMk/>
            <pc:sldMk cId="2422551007" sldId="1326"/>
            <ac:grpSpMk id="11" creationId="{C61F0E69-602C-958A-ADB9-8850B9856B57}"/>
          </ac:grpSpMkLst>
        </pc:grpChg>
        <pc:grpChg chg="mod">
          <ac:chgData name="Divya Rank" userId="8a86f94f-bc51-45b1-baba-7f5d30607298" providerId="ADAL" clId="{12126C74-8380-4416-AB41-D42486FEE1A5}" dt="2025-06-13T11:47:12.846" v="787"/>
          <ac:grpSpMkLst>
            <pc:docMk/>
            <pc:sldMk cId="2422551007" sldId="1326"/>
            <ac:grpSpMk id="15" creationId="{EFBE2844-1A7A-6A36-DBA9-1FBCF1BBAA03}"/>
          </ac:grpSpMkLst>
        </pc:grpChg>
        <pc:grpChg chg="add mod">
          <ac:chgData name="Divya Rank" userId="8a86f94f-bc51-45b1-baba-7f5d30607298" providerId="ADAL" clId="{12126C74-8380-4416-AB41-D42486FEE1A5}" dt="2025-06-13T15:22:24.148" v="5713" actId="14100"/>
          <ac:grpSpMkLst>
            <pc:docMk/>
            <pc:sldMk cId="2422551007" sldId="1326"/>
            <ac:grpSpMk id="24" creationId="{FBCA1D64-D572-EDC1-53D9-FF57F8D0A378}"/>
          </ac:grpSpMkLst>
        </pc:grpChg>
        <pc:picChg chg="mod">
          <ac:chgData name="Divya Rank" userId="8a86f94f-bc51-45b1-baba-7f5d30607298" providerId="ADAL" clId="{12126C74-8380-4416-AB41-D42486FEE1A5}" dt="2025-06-13T15:22:30.452" v="5714" actId="14100"/>
          <ac:picMkLst>
            <pc:docMk/>
            <pc:sldMk cId="2422551007" sldId="1326"/>
            <ac:picMk id="6148" creationId="{F056F422-9831-4B36-EA98-33E6F6886EF4}"/>
          </ac:picMkLst>
        </pc:picChg>
      </pc:sldChg>
      <pc:sldChg chg="addSp delSp modSp mod">
        <pc:chgData name="Divya Rank" userId="8a86f94f-bc51-45b1-baba-7f5d30607298" providerId="ADAL" clId="{12126C74-8380-4416-AB41-D42486FEE1A5}" dt="2025-06-14T04:11:53.485" v="6065" actId="1036"/>
        <pc:sldMkLst>
          <pc:docMk/>
          <pc:sldMk cId="3185590267" sldId="1327"/>
        </pc:sldMkLst>
        <pc:spChg chg="mod">
          <ac:chgData name="Divya Rank" userId="8a86f94f-bc51-45b1-baba-7f5d30607298" providerId="ADAL" clId="{12126C74-8380-4416-AB41-D42486FEE1A5}" dt="2025-06-14T04:11:53.485" v="6065" actId="1036"/>
          <ac:spMkLst>
            <pc:docMk/>
            <pc:sldMk cId="3185590267" sldId="1327"/>
            <ac:spMk id="2" creationId="{C2A6A1ED-1160-A8B8-8BCC-A4C48A688B58}"/>
          </ac:spMkLst>
        </pc:spChg>
        <pc:spChg chg="mod">
          <ac:chgData name="Divya Rank" userId="8a86f94f-bc51-45b1-baba-7f5d30607298" providerId="ADAL" clId="{12126C74-8380-4416-AB41-D42486FEE1A5}" dt="2025-06-13T11:52:36.297" v="934"/>
          <ac:spMkLst>
            <pc:docMk/>
            <pc:sldMk cId="3185590267" sldId="1327"/>
            <ac:spMk id="45" creationId="{821A96CC-D512-DC80-AD49-911138A7CE57}"/>
          </ac:spMkLst>
        </pc:spChg>
        <pc:spChg chg="mod">
          <ac:chgData name="Divya Rank" userId="8a86f94f-bc51-45b1-baba-7f5d30607298" providerId="ADAL" clId="{12126C74-8380-4416-AB41-D42486FEE1A5}" dt="2025-06-13T11:52:36.297" v="934"/>
          <ac:spMkLst>
            <pc:docMk/>
            <pc:sldMk cId="3185590267" sldId="1327"/>
            <ac:spMk id="46" creationId="{1453989D-8429-3900-DF56-7948C71A96D6}"/>
          </ac:spMkLst>
        </pc:spChg>
        <pc:spChg chg="mod">
          <ac:chgData name="Divya Rank" userId="8a86f94f-bc51-45b1-baba-7f5d30607298" providerId="ADAL" clId="{12126C74-8380-4416-AB41-D42486FEE1A5}" dt="2025-06-13T11:53:42.287" v="945" actId="14100"/>
          <ac:spMkLst>
            <pc:docMk/>
            <pc:sldMk cId="3185590267" sldId="1327"/>
            <ac:spMk id="50" creationId="{2E64991B-F2F3-706D-C5EC-0CB6057FCE3C}"/>
          </ac:spMkLst>
        </pc:spChg>
        <pc:spChg chg="mod">
          <ac:chgData name="Divya Rank" userId="8a86f94f-bc51-45b1-baba-7f5d30607298" providerId="ADAL" clId="{12126C74-8380-4416-AB41-D42486FEE1A5}" dt="2025-06-13T11:52:36.297" v="934"/>
          <ac:spMkLst>
            <pc:docMk/>
            <pc:sldMk cId="3185590267" sldId="1327"/>
            <ac:spMk id="52" creationId="{66C12B36-9AC7-8F86-4D62-0318744934A2}"/>
          </ac:spMkLst>
        </pc:spChg>
        <pc:spChg chg="mod">
          <ac:chgData name="Divya Rank" userId="8a86f94f-bc51-45b1-baba-7f5d30607298" providerId="ADAL" clId="{12126C74-8380-4416-AB41-D42486FEE1A5}" dt="2025-06-13T11:52:36.297" v="934"/>
          <ac:spMkLst>
            <pc:docMk/>
            <pc:sldMk cId="3185590267" sldId="1327"/>
            <ac:spMk id="53" creationId="{EEF8C70F-3486-743B-9A34-42FD7103F02F}"/>
          </ac:spMkLst>
        </pc:spChg>
        <pc:spChg chg="mod">
          <ac:chgData name="Divya Rank" userId="8a86f94f-bc51-45b1-baba-7f5d30607298" providerId="ADAL" clId="{12126C74-8380-4416-AB41-D42486FEE1A5}" dt="2025-06-13T11:52:27.680" v="932" actId="20577"/>
          <ac:spMkLst>
            <pc:docMk/>
            <pc:sldMk cId="3185590267" sldId="1327"/>
            <ac:spMk id="54" creationId="{4DA67162-54A0-BCA1-6709-E99B22EB5F70}"/>
          </ac:spMkLst>
        </pc:spChg>
        <pc:spChg chg="mod">
          <ac:chgData name="Divya Rank" userId="8a86f94f-bc51-45b1-baba-7f5d30607298" providerId="ADAL" clId="{12126C74-8380-4416-AB41-D42486FEE1A5}" dt="2025-06-13T11:52:37.342" v="936" actId="20577"/>
          <ac:spMkLst>
            <pc:docMk/>
            <pc:sldMk cId="3185590267" sldId="1327"/>
            <ac:spMk id="55" creationId="{A1BDEAA4-2F9A-4A77-21C9-02C9D70A3A82}"/>
          </ac:spMkLst>
        </pc:spChg>
        <pc:spChg chg="mod">
          <ac:chgData name="Divya Rank" userId="8a86f94f-bc51-45b1-baba-7f5d30607298" providerId="ADAL" clId="{12126C74-8380-4416-AB41-D42486FEE1A5}" dt="2025-06-13T11:53:42.287" v="945" actId="14100"/>
          <ac:spMkLst>
            <pc:docMk/>
            <pc:sldMk cId="3185590267" sldId="1327"/>
            <ac:spMk id="56" creationId="{F26C26B5-A41D-05E4-F42A-0E0D3D385D31}"/>
          </ac:spMkLst>
        </pc:spChg>
        <pc:spChg chg="mod">
          <ac:chgData name="Divya Rank" userId="8a86f94f-bc51-45b1-baba-7f5d30607298" providerId="ADAL" clId="{12126C74-8380-4416-AB41-D42486FEE1A5}" dt="2025-06-13T11:52:36.297" v="934"/>
          <ac:spMkLst>
            <pc:docMk/>
            <pc:sldMk cId="3185590267" sldId="1327"/>
            <ac:spMk id="58" creationId="{67E5702C-C32D-2EAA-8B4B-614A050EC16D}"/>
          </ac:spMkLst>
        </pc:spChg>
        <pc:spChg chg="mod">
          <ac:chgData name="Divya Rank" userId="8a86f94f-bc51-45b1-baba-7f5d30607298" providerId="ADAL" clId="{12126C74-8380-4416-AB41-D42486FEE1A5}" dt="2025-06-13T11:52:49.700" v="938" actId="1076"/>
          <ac:spMkLst>
            <pc:docMk/>
            <pc:sldMk cId="3185590267" sldId="1327"/>
            <ac:spMk id="59" creationId="{299E02F2-D81C-2E34-A894-957E120F44E7}"/>
          </ac:spMkLst>
        </pc:spChg>
        <pc:spChg chg="mod">
          <ac:chgData name="Divya Rank" userId="8a86f94f-bc51-45b1-baba-7f5d30607298" providerId="ADAL" clId="{12126C74-8380-4416-AB41-D42486FEE1A5}" dt="2025-06-13T11:53:00.647" v="939" actId="1076"/>
          <ac:spMkLst>
            <pc:docMk/>
            <pc:sldMk cId="3185590267" sldId="1327"/>
            <ac:spMk id="60" creationId="{07062C14-37E6-2BA2-D7C8-5B535DE52E16}"/>
          </ac:spMkLst>
        </pc:spChg>
        <pc:spChg chg="mod">
          <ac:chgData name="Divya Rank" userId="8a86f94f-bc51-45b1-baba-7f5d30607298" providerId="ADAL" clId="{12126C74-8380-4416-AB41-D42486FEE1A5}" dt="2025-06-13T11:53:08.051" v="940" actId="1076"/>
          <ac:spMkLst>
            <pc:docMk/>
            <pc:sldMk cId="3185590267" sldId="1327"/>
            <ac:spMk id="61" creationId="{05C46D3A-FC2A-EAD1-AF78-C35F2274D8C5}"/>
          </ac:spMkLst>
        </pc:spChg>
        <pc:grpChg chg="mod">
          <ac:chgData name="Divya Rank" userId="8a86f94f-bc51-45b1-baba-7f5d30607298" providerId="ADAL" clId="{12126C74-8380-4416-AB41-D42486FEE1A5}" dt="2025-06-13T11:53:21.892" v="944" actId="14100"/>
          <ac:grpSpMkLst>
            <pc:docMk/>
            <pc:sldMk cId="3185590267" sldId="1327"/>
            <ac:grpSpMk id="38" creationId="{B5BCAA5B-80F9-980C-39F6-4B02D29E7064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1:45:31.300" v="783" actId="1035"/>
        <pc:sldMkLst>
          <pc:docMk/>
          <pc:sldMk cId="3025924157" sldId="1329"/>
        </pc:sldMkLst>
        <pc:spChg chg="mod">
          <ac:chgData name="Divya Rank" userId="8a86f94f-bc51-45b1-baba-7f5d30607298" providerId="ADAL" clId="{12126C74-8380-4416-AB41-D42486FEE1A5}" dt="2025-06-13T11:45:23.098" v="763" actId="122"/>
          <ac:spMkLst>
            <pc:docMk/>
            <pc:sldMk cId="3025924157" sldId="1329"/>
            <ac:spMk id="19" creationId="{CE29D684-2BD9-3CF3-DC5A-50A24E08C7A3}"/>
          </ac:spMkLst>
        </pc:spChg>
        <pc:spChg chg="mod">
          <ac:chgData name="Divya Rank" userId="8a86f94f-bc51-45b1-baba-7f5d30607298" providerId="ADAL" clId="{12126C74-8380-4416-AB41-D42486FEE1A5}" dt="2025-06-13T11:41:13.622" v="742" actId="14100"/>
          <ac:spMkLst>
            <pc:docMk/>
            <pc:sldMk cId="3025924157" sldId="1329"/>
            <ac:spMk id="20" creationId="{1F6EB035-71FA-9ADC-1D61-6D97F8B8170B}"/>
          </ac:spMkLst>
        </pc:spChg>
        <pc:spChg chg="mod">
          <ac:chgData name="Divya Rank" userId="8a86f94f-bc51-45b1-baba-7f5d30607298" providerId="ADAL" clId="{12126C74-8380-4416-AB41-D42486FEE1A5}" dt="2025-06-13T11:39:52.566" v="704" actId="14100"/>
          <ac:spMkLst>
            <pc:docMk/>
            <pc:sldMk cId="3025924157" sldId="1329"/>
            <ac:spMk id="22" creationId="{2DA84F70-6A7A-0A2A-C398-9E79B7DA76EC}"/>
          </ac:spMkLst>
        </pc:spChg>
        <pc:spChg chg="mod">
          <ac:chgData name="Divya Rank" userId="8a86f94f-bc51-45b1-baba-7f5d30607298" providerId="ADAL" clId="{12126C74-8380-4416-AB41-D42486FEE1A5}" dt="2025-06-13T11:41:30.379" v="745" actId="1076"/>
          <ac:spMkLst>
            <pc:docMk/>
            <pc:sldMk cId="3025924157" sldId="1329"/>
            <ac:spMk id="24" creationId="{83160E49-1558-2BFD-0A06-3C18CFB3F8AA}"/>
          </ac:spMkLst>
        </pc:spChg>
        <pc:spChg chg="mod">
          <ac:chgData name="Divya Rank" userId="8a86f94f-bc51-45b1-baba-7f5d30607298" providerId="ADAL" clId="{12126C74-8380-4416-AB41-D42486FEE1A5}" dt="2025-06-13T11:41:38.018" v="746" actId="1076"/>
          <ac:spMkLst>
            <pc:docMk/>
            <pc:sldMk cId="3025924157" sldId="1329"/>
            <ac:spMk id="26" creationId="{E26D48B5-0525-F863-1756-F134F070AEEA}"/>
          </ac:spMkLst>
        </pc:spChg>
        <pc:spChg chg="mod">
          <ac:chgData name="Divya Rank" userId="8a86f94f-bc51-45b1-baba-7f5d30607298" providerId="ADAL" clId="{12126C74-8380-4416-AB41-D42486FEE1A5}" dt="2025-06-13T11:41:43.580" v="747" actId="1076"/>
          <ac:spMkLst>
            <pc:docMk/>
            <pc:sldMk cId="3025924157" sldId="1329"/>
            <ac:spMk id="28" creationId="{26089C8E-6FE0-B826-9F1D-D5E833EE19C7}"/>
          </ac:spMkLst>
        </pc:spChg>
        <pc:spChg chg="mod">
          <ac:chgData name="Divya Rank" userId="8a86f94f-bc51-45b1-baba-7f5d30607298" providerId="ADAL" clId="{12126C74-8380-4416-AB41-D42486FEE1A5}" dt="2025-06-13T11:45:23.098" v="763" actId="122"/>
          <ac:spMkLst>
            <pc:docMk/>
            <pc:sldMk cId="3025924157" sldId="1329"/>
            <ac:spMk id="29" creationId="{5FAF97B8-88DF-98AD-05DB-CCBD4338668A}"/>
          </ac:spMkLst>
        </pc:spChg>
        <pc:spChg chg="mod">
          <ac:chgData name="Divya Rank" userId="8a86f94f-bc51-45b1-baba-7f5d30607298" providerId="ADAL" clId="{12126C74-8380-4416-AB41-D42486FEE1A5}" dt="2025-06-13T11:43:07.349" v="748" actId="14100"/>
          <ac:spMkLst>
            <pc:docMk/>
            <pc:sldMk cId="3025924157" sldId="1329"/>
            <ac:spMk id="30" creationId="{2EAD5F6E-EF84-F76C-1E17-6C69E4BC5F68}"/>
          </ac:spMkLst>
        </pc:spChg>
        <pc:spChg chg="mod">
          <ac:chgData name="Divya Rank" userId="8a86f94f-bc51-45b1-baba-7f5d30607298" providerId="ADAL" clId="{12126C74-8380-4416-AB41-D42486FEE1A5}" dt="2025-06-13T11:43:42.926" v="752" actId="14100"/>
          <ac:spMkLst>
            <pc:docMk/>
            <pc:sldMk cId="3025924157" sldId="1329"/>
            <ac:spMk id="32" creationId="{C513084D-50D0-D2FD-EEA6-FFEED492C1C1}"/>
          </ac:spMkLst>
        </pc:spChg>
        <pc:spChg chg="mod">
          <ac:chgData name="Divya Rank" userId="8a86f94f-bc51-45b1-baba-7f5d30607298" providerId="ADAL" clId="{12126C74-8380-4416-AB41-D42486FEE1A5}" dt="2025-06-13T11:44:50.240" v="761" actId="1036"/>
          <ac:spMkLst>
            <pc:docMk/>
            <pc:sldMk cId="3025924157" sldId="1329"/>
            <ac:spMk id="34" creationId="{1B859247-7623-1CB1-41A9-F78D306CBEA3}"/>
          </ac:spMkLst>
        </pc:spChg>
        <pc:spChg chg="mod">
          <ac:chgData name="Divya Rank" userId="8a86f94f-bc51-45b1-baba-7f5d30607298" providerId="ADAL" clId="{12126C74-8380-4416-AB41-D42486FEE1A5}" dt="2025-06-13T11:44:48.505" v="760" actId="1036"/>
          <ac:spMkLst>
            <pc:docMk/>
            <pc:sldMk cId="3025924157" sldId="1329"/>
            <ac:spMk id="36" creationId="{BEA99357-0C54-488F-B785-73BCBE977B24}"/>
          </ac:spMkLst>
        </pc:spChg>
        <pc:spChg chg="mod">
          <ac:chgData name="Divya Rank" userId="8a86f94f-bc51-45b1-baba-7f5d30607298" providerId="ADAL" clId="{12126C74-8380-4416-AB41-D42486FEE1A5}" dt="2025-06-13T11:44:45.715" v="758" actId="1036"/>
          <ac:spMkLst>
            <pc:docMk/>
            <pc:sldMk cId="3025924157" sldId="1329"/>
            <ac:spMk id="38" creationId="{E33C6FA2-7792-8009-7369-E451787674ED}"/>
          </ac:spMkLst>
        </pc:spChg>
        <pc:grpChg chg="add">
          <ac:chgData name="Divya Rank" userId="8a86f94f-bc51-45b1-baba-7f5d30607298" providerId="ADAL" clId="{12126C74-8380-4416-AB41-D42486FEE1A5}" dt="2025-06-13T11:40:39.367" v="736" actId="164"/>
          <ac:grpSpMkLst>
            <pc:docMk/>
            <pc:sldMk cId="3025924157" sldId="1329"/>
            <ac:grpSpMk id="5" creationId="{45CA39D9-8336-1CCD-3DA4-92780342B16F}"/>
          </ac:grpSpMkLst>
        </pc:grpChg>
        <pc:grpChg chg="add">
          <ac:chgData name="Divya Rank" userId="8a86f94f-bc51-45b1-baba-7f5d30607298" providerId="ADAL" clId="{12126C74-8380-4416-AB41-D42486FEE1A5}" dt="2025-06-13T11:40:53.595" v="739" actId="164"/>
          <ac:grpSpMkLst>
            <pc:docMk/>
            <pc:sldMk cId="3025924157" sldId="1329"/>
            <ac:grpSpMk id="6" creationId="{C70ABE39-4DDF-6753-A411-3195A91198A3}"/>
          </ac:grpSpMkLst>
        </pc:grpChg>
        <pc:grpChg chg="add">
          <ac:chgData name="Divya Rank" userId="8a86f94f-bc51-45b1-baba-7f5d30607298" providerId="ADAL" clId="{12126C74-8380-4416-AB41-D42486FEE1A5}" dt="2025-06-13T11:41:00.577" v="740" actId="164"/>
          <ac:grpSpMkLst>
            <pc:docMk/>
            <pc:sldMk cId="3025924157" sldId="1329"/>
            <ac:grpSpMk id="7" creationId="{E94E2DC8-0473-3755-97E8-97631B49E43C}"/>
          </ac:grpSpMkLst>
        </pc:grpChg>
        <pc:grpChg chg="add">
          <ac:chgData name="Divya Rank" userId="8a86f94f-bc51-45b1-baba-7f5d30607298" providerId="ADAL" clId="{12126C74-8380-4416-AB41-D42486FEE1A5}" dt="2025-06-13T11:41:03.930" v="741" actId="164"/>
          <ac:grpSpMkLst>
            <pc:docMk/>
            <pc:sldMk cId="3025924157" sldId="1329"/>
            <ac:grpSpMk id="9" creationId="{4C778965-9A7D-C34A-7BAD-6C140E8281FB}"/>
          </ac:grpSpMkLst>
        </pc:grpChg>
        <pc:grpChg chg="add">
          <ac:chgData name="Divya Rank" userId="8a86f94f-bc51-45b1-baba-7f5d30607298" providerId="ADAL" clId="{12126C74-8380-4416-AB41-D42486FEE1A5}" dt="2025-06-13T11:45:05.255" v="762" actId="164"/>
          <ac:grpSpMkLst>
            <pc:docMk/>
            <pc:sldMk cId="3025924157" sldId="1329"/>
            <ac:grpSpMk id="10" creationId="{FC532AE3-7A14-715D-1771-54424BB4BAAE}"/>
          </ac:grpSpMkLst>
        </pc:grpChg>
        <pc:grpChg chg="add mod">
          <ac:chgData name="Divya Rank" userId="8a86f94f-bc51-45b1-baba-7f5d30607298" providerId="ADAL" clId="{12126C74-8380-4416-AB41-D42486FEE1A5}" dt="2025-06-13T11:45:31.300" v="783" actId="1035"/>
          <ac:grpSpMkLst>
            <pc:docMk/>
            <pc:sldMk cId="3025924157" sldId="1329"/>
            <ac:grpSpMk id="11" creationId="{1B5582F3-40B2-D071-963F-AC756A2A49BE}"/>
          </ac:grpSpMkLst>
        </pc:grpChg>
      </pc:sldChg>
      <pc:sldChg chg="addSp delSp modSp mod">
        <pc:chgData name="Divya Rank" userId="8a86f94f-bc51-45b1-baba-7f5d30607298" providerId="ADAL" clId="{12126C74-8380-4416-AB41-D42486FEE1A5}" dt="2025-06-14T04:11:57.795" v="6066" actId="1036"/>
        <pc:sldMkLst>
          <pc:docMk/>
          <pc:sldMk cId="4210696127" sldId="1330"/>
        </pc:sldMkLst>
        <pc:spChg chg="mod">
          <ac:chgData name="Divya Rank" userId="8a86f94f-bc51-45b1-baba-7f5d30607298" providerId="ADAL" clId="{12126C74-8380-4416-AB41-D42486FEE1A5}" dt="2025-06-14T04:11:57.795" v="6066" actId="1036"/>
          <ac:spMkLst>
            <pc:docMk/>
            <pc:sldMk cId="4210696127" sldId="1330"/>
            <ac:spMk id="2" creationId="{6129CD3D-04F8-AC92-BE41-369736E8F07D}"/>
          </ac:spMkLst>
        </pc:spChg>
        <pc:spChg chg="mod">
          <ac:chgData name="Divya Rank" userId="8a86f94f-bc51-45b1-baba-7f5d30607298" providerId="ADAL" clId="{12126C74-8380-4416-AB41-D42486FEE1A5}" dt="2025-06-13T11:57:29.736" v="998"/>
          <ac:spMkLst>
            <pc:docMk/>
            <pc:sldMk cId="4210696127" sldId="1330"/>
            <ac:spMk id="11" creationId="{66799491-C087-4739-4829-FC02BC3C6BEE}"/>
          </ac:spMkLst>
        </pc:spChg>
        <pc:spChg chg="mod">
          <ac:chgData name="Divya Rank" userId="8a86f94f-bc51-45b1-baba-7f5d30607298" providerId="ADAL" clId="{12126C74-8380-4416-AB41-D42486FEE1A5}" dt="2025-06-13T11:59:04.362" v="1011" actId="14100"/>
          <ac:spMkLst>
            <pc:docMk/>
            <pc:sldMk cId="4210696127" sldId="1330"/>
            <ac:spMk id="30" creationId="{E1D7D924-7374-D859-96E5-14D2CC88A0EA}"/>
          </ac:spMkLst>
        </pc:spChg>
        <pc:spChg chg="mod">
          <ac:chgData name="Divya Rank" userId="8a86f94f-bc51-45b1-baba-7f5d30607298" providerId="ADAL" clId="{12126C74-8380-4416-AB41-D42486FEE1A5}" dt="2025-06-13T11:57:29.736" v="998"/>
          <ac:spMkLst>
            <pc:docMk/>
            <pc:sldMk cId="4210696127" sldId="1330"/>
            <ac:spMk id="31" creationId="{104A0392-7E6C-F254-505D-098680D39DDF}"/>
          </ac:spMkLst>
        </pc:spChg>
        <pc:spChg chg="mod">
          <ac:chgData name="Divya Rank" userId="8a86f94f-bc51-45b1-baba-7f5d30607298" providerId="ADAL" clId="{12126C74-8380-4416-AB41-D42486FEE1A5}" dt="2025-06-13T11:59:04.362" v="1011" actId="14100"/>
          <ac:spMkLst>
            <pc:docMk/>
            <pc:sldMk cId="4210696127" sldId="1330"/>
            <ac:spMk id="32" creationId="{51071453-06EC-A4D8-0635-97FE3DD1CEFE}"/>
          </ac:spMkLst>
        </pc:spChg>
        <pc:spChg chg="mod">
          <ac:chgData name="Divya Rank" userId="8a86f94f-bc51-45b1-baba-7f5d30607298" providerId="ADAL" clId="{12126C74-8380-4416-AB41-D42486FEE1A5}" dt="2025-06-13T11:57:29.736" v="998"/>
          <ac:spMkLst>
            <pc:docMk/>
            <pc:sldMk cId="4210696127" sldId="1330"/>
            <ac:spMk id="33" creationId="{8A5EDCAD-90DB-C2D1-7B86-6A3669C3C268}"/>
          </ac:spMkLst>
        </pc:spChg>
        <pc:spChg chg="mod">
          <ac:chgData name="Divya Rank" userId="8a86f94f-bc51-45b1-baba-7f5d30607298" providerId="ADAL" clId="{12126C74-8380-4416-AB41-D42486FEE1A5}" dt="2025-06-13T11:59:04.362" v="1011" actId="14100"/>
          <ac:spMkLst>
            <pc:docMk/>
            <pc:sldMk cId="4210696127" sldId="1330"/>
            <ac:spMk id="34" creationId="{D1BFDB65-4F4A-1A13-E7BB-DEB5F901A926}"/>
          </ac:spMkLst>
        </pc:spChg>
        <pc:spChg chg="mod">
          <ac:chgData name="Divya Rank" userId="8a86f94f-bc51-45b1-baba-7f5d30607298" providerId="ADAL" clId="{12126C74-8380-4416-AB41-D42486FEE1A5}" dt="2025-06-13T11:57:29.736" v="998"/>
          <ac:spMkLst>
            <pc:docMk/>
            <pc:sldMk cId="4210696127" sldId="1330"/>
            <ac:spMk id="35" creationId="{200520FD-B364-074D-BA78-4E9D3294D65B}"/>
          </ac:spMkLst>
        </pc:spChg>
        <pc:spChg chg="mod">
          <ac:chgData name="Divya Rank" userId="8a86f94f-bc51-45b1-baba-7f5d30607298" providerId="ADAL" clId="{12126C74-8380-4416-AB41-D42486FEE1A5}" dt="2025-06-13T11:59:04.362" v="1011" actId="14100"/>
          <ac:spMkLst>
            <pc:docMk/>
            <pc:sldMk cId="4210696127" sldId="1330"/>
            <ac:spMk id="36" creationId="{A574130A-3A9C-8165-B89F-87441B79573F}"/>
          </ac:spMkLst>
        </pc:spChg>
        <pc:spChg chg="mod">
          <ac:chgData name="Divya Rank" userId="8a86f94f-bc51-45b1-baba-7f5d30607298" providerId="ADAL" clId="{12126C74-8380-4416-AB41-D42486FEE1A5}" dt="2025-06-13T11:57:29.736" v="998"/>
          <ac:spMkLst>
            <pc:docMk/>
            <pc:sldMk cId="4210696127" sldId="1330"/>
            <ac:spMk id="37" creationId="{CD09A020-AE66-1013-4BA7-CD6D38E6D95B}"/>
          </ac:spMkLst>
        </pc:spChg>
        <pc:grpChg chg="add mod">
          <ac:chgData name="Divya Rank" userId="8a86f94f-bc51-45b1-baba-7f5d30607298" providerId="ADAL" clId="{12126C74-8380-4416-AB41-D42486FEE1A5}" dt="2025-06-13T11:57:29.736" v="998"/>
          <ac:grpSpMkLst>
            <pc:docMk/>
            <pc:sldMk cId="4210696127" sldId="1330"/>
            <ac:grpSpMk id="10" creationId="{3B85381B-237D-0020-1A79-4842734BB6AB}"/>
          </ac:grpSpMkLst>
        </pc:grpChg>
      </pc:sldChg>
      <pc:sldChg chg="addSp delSp modSp mod">
        <pc:chgData name="Divya Rank" userId="8a86f94f-bc51-45b1-baba-7f5d30607298" providerId="ADAL" clId="{12126C74-8380-4416-AB41-D42486FEE1A5}" dt="2025-06-14T04:12:01.802" v="6067" actId="1036"/>
        <pc:sldMkLst>
          <pc:docMk/>
          <pc:sldMk cId="428735658" sldId="1332"/>
        </pc:sldMkLst>
        <pc:spChg chg="mod">
          <ac:chgData name="Divya Rank" userId="8a86f94f-bc51-45b1-baba-7f5d30607298" providerId="ADAL" clId="{12126C74-8380-4416-AB41-D42486FEE1A5}" dt="2025-06-14T04:12:01.802" v="6067" actId="1036"/>
          <ac:spMkLst>
            <pc:docMk/>
            <pc:sldMk cId="428735658" sldId="1332"/>
            <ac:spMk id="2" creationId="{D3BEB841-2AEE-BE3D-A6B1-504625D21D57}"/>
          </ac:spMkLst>
        </pc:spChg>
        <pc:spChg chg="mod">
          <ac:chgData name="Divya Rank" userId="8a86f94f-bc51-45b1-baba-7f5d30607298" providerId="ADAL" clId="{12126C74-8380-4416-AB41-D42486FEE1A5}" dt="2025-06-13T12:02:35.118" v="1069"/>
          <ac:spMkLst>
            <pc:docMk/>
            <pc:sldMk cId="428735658" sldId="1332"/>
            <ac:spMk id="15" creationId="{26AC2367-4146-4BED-35B8-6F6965CEC78F}"/>
          </ac:spMkLst>
        </pc:spChg>
        <pc:spChg chg="mod">
          <ac:chgData name="Divya Rank" userId="8a86f94f-bc51-45b1-baba-7f5d30607298" providerId="ADAL" clId="{12126C74-8380-4416-AB41-D42486FEE1A5}" dt="2025-06-13T12:02:35.118" v="1069"/>
          <ac:spMkLst>
            <pc:docMk/>
            <pc:sldMk cId="428735658" sldId="1332"/>
            <ac:spMk id="16" creationId="{D8BE0ECB-67D2-D77D-3DE3-77BBB15B6307}"/>
          </ac:spMkLst>
        </pc:spChg>
        <pc:spChg chg="mod">
          <ac:chgData name="Divya Rank" userId="8a86f94f-bc51-45b1-baba-7f5d30607298" providerId="ADAL" clId="{12126C74-8380-4416-AB41-D42486FEE1A5}" dt="2025-06-13T12:03:39.836" v="1097" actId="14100"/>
          <ac:spMkLst>
            <pc:docMk/>
            <pc:sldMk cId="428735658" sldId="1332"/>
            <ac:spMk id="40" creationId="{35C3539D-541B-7D71-FE86-23E103310C97}"/>
          </ac:spMkLst>
        </pc:spChg>
        <pc:spChg chg="mod">
          <ac:chgData name="Divya Rank" userId="8a86f94f-bc51-45b1-baba-7f5d30607298" providerId="ADAL" clId="{12126C74-8380-4416-AB41-D42486FEE1A5}" dt="2025-06-13T12:02:35.118" v="1069"/>
          <ac:spMkLst>
            <pc:docMk/>
            <pc:sldMk cId="428735658" sldId="1332"/>
            <ac:spMk id="42" creationId="{E59BDEE0-3FE0-48C2-9DAC-65E03363C6EB}"/>
          </ac:spMkLst>
        </pc:spChg>
        <pc:spChg chg="mod">
          <ac:chgData name="Divya Rank" userId="8a86f94f-bc51-45b1-baba-7f5d30607298" providerId="ADAL" clId="{12126C74-8380-4416-AB41-D42486FEE1A5}" dt="2025-06-13T12:01:37.951" v="1057"/>
          <ac:spMkLst>
            <pc:docMk/>
            <pc:sldMk cId="428735658" sldId="1332"/>
            <ac:spMk id="43" creationId="{880D0325-0359-5F4D-C172-C47D7E2325C1}"/>
          </ac:spMkLst>
        </pc:spChg>
        <pc:spChg chg="mod">
          <ac:chgData name="Divya Rank" userId="8a86f94f-bc51-45b1-baba-7f5d30607298" providerId="ADAL" clId="{12126C74-8380-4416-AB41-D42486FEE1A5}" dt="2025-06-13T12:02:35.118" v="1069"/>
          <ac:spMkLst>
            <pc:docMk/>
            <pc:sldMk cId="428735658" sldId="1332"/>
            <ac:spMk id="44" creationId="{B3467FD4-E7A4-AB78-8D02-D0813686AD10}"/>
          </ac:spMkLst>
        </pc:spChg>
        <pc:spChg chg="mod">
          <ac:chgData name="Divya Rank" userId="8a86f94f-bc51-45b1-baba-7f5d30607298" providerId="ADAL" clId="{12126C74-8380-4416-AB41-D42486FEE1A5}" dt="2025-06-13T12:02:35.118" v="1069"/>
          <ac:spMkLst>
            <pc:docMk/>
            <pc:sldMk cId="428735658" sldId="1332"/>
            <ac:spMk id="45" creationId="{65330AB2-AA15-C8D2-1151-09AA3113DB3A}"/>
          </ac:spMkLst>
        </pc:spChg>
        <pc:spChg chg="mod">
          <ac:chgData name="Divya Rank" userId="8a86f94f-bc51-45b1-baba-7f5d30607298" providerId="ADAL" clId="{12126C74-8380-4416-AB41-D42486FEE1A5}" dt="2025-06-13T12:03:39.836" v="1097" actId="14100"/>
          <ac:spMkLst>
            <pc:docMk/>
            <pc:sldMk cId="428735658" sldId="1332"/>
            <ac:spMk id="46" creationId="{70002A5E-59D9-8097-59FF-F37B500F3601}"/>
          </ac:spMkLst>
        </pc:spChg>
        <pc:spChg chg="mod">
          <ac:chgData name="Divya Rank" userId="8a86f94f-bc51-45b1-baba-7f5d30607298" providerId="ADAL" clId="{12126C74-8380-4416-AB41-D42486FEE1A5}" dt="2025-06-13T12:03:10.667" v="1090" actId="1076"/>
          <ac:spMkLst>
            <pc:docMk/>
            <pc:sldMk cId="428735658" sldId="1332"/>
            <ac:spMk id="48" creationId="{3303799F-3E87-E631-82F0-3F5D63F21803}"/>
          </ac:spMkLst>
        </pc:spChg>
        <pc:spChg chg="mod">
          <ac:chgData name="Divya Rank" userId="8a86f94f-bc51-45b1-baba-7f5d30607298" providerId="ADAL" clId="{12126C74-8380-4416-AB41-D42486FEE1A5}" dt="2025-06-13T12:02:46.417" v="1088" actId="1036"/>
          <ac:spMkLst>
            <pc:docMk/>
            <pc:sldMk cId="428735658" sldId="1332"/>
            <ac:spMk id="49" creationId="{72CD5F0F-D3A1-8B14-FD84-0220D64DFA36}"/>
          </ac:spMkLst>
        </pc:spChg>
        <pc:spChg chg="mod">
          <ac:chgData name="Divya Rank" userId="8a86f94f-bc51-45b1-baba-7f5d30607298" providerId="ADAL" clId="{12126C74-8380-4416-AB41-D42486FEE1A5}" dt="2025-06-13T12:02:46.417" v="1088" actId="1036"/>
          <ac:spMkLst>
            <pc:docMk/>
            <pc:sldMk cId="428735658" sldId="1332"/>
            <ac:spMk id="50" creationId="{E49928C8-99C5-F6CD-FE10-04FF2C0B0E60}"/>
          </ac:spMkLst>
        </pc:spChg>
        <pc:spChg chg="mod">
          <ac:chgData name="Divya Rank" userId="8a86f94f-bc51-45b1-baba-7f5d30607298" providerId="ADAL" clId="{12126C74-8380-4416-AB41-D42486FEE1A5}" dt="2025-06-13T12:03:34.128" v="1096" actId="1076"/>
          <ac:spMkLst>
            <pc:docMk/>
            <pc:sldMk cId="428735658" sldId="1332"/>
            <ac:spMk id="51" creationId="{1DC69607-116E-A9D8-6FA3-27B39FD20219}"/>
          </ac:spMkLst>
        </pc:spChg>
      </pc:sldChg>
      <pc:sldChg chg="modSp mod">
        <pc:chgData name="Divya Rank" userId="8a86f94f-bc51-45b1-baba-7f5d30607298" providerId="ADAL" clId="{12126C74-8380-4416-AB41-D42486FEE1A5}" dt="2025-06-13T12:03:49.775" v="1098" actId="1076"/>
        <pc:sldMkLst>
          <pc:docMk/>
          <pc:sldMk cId="1218190992" sldId="1334"/>
        </pc:sldMkLst>
        <pc:picChg chg="mod">
          <ac:chgData name="Divya Rank" userId="8a86f94f-bc51-45b1-baba-7f5d30607298" providerId="ADAL" clId="{12126C74-8380-4416-AB41-D42486FEE1A5}" dt="2025-06-13T12:03:49.775" v="1098" actId="1076"/>
          <ac:picMkLst>
            <pc:docMk/>
            <pc:sldMk cId="1218190992" sldId="1334"/>
            <ac:picMk id="85" creationId="{7130A351-718D-6C7C-1DB9-987D1AC44158}"/>
          </ac:picMkLst>
        </pc:picChg>
      </pc:sldChg>
      <pc:sldChg chg="delSp modSp mod">
        <pc:chgData name="Divya Rank" userId="8a86f94f-bc51-45b1-baba-7f5d30607298" providerId="ADAL" clId="{12126C74-8380-4416-AB41-D42486FEE1A5}" dt="2025-06-13T12:05:07.759" v="1105" actId="1035"/>
        <pc:sldMkLst>
          <pc:docMk/>
          <pc:sldMk cId="2891399107" sldId="1335"/>
        </pc:sldMkLst>
        <pc:spChg chg="mod">
          <ac:chgData name="Divya Rank" userId="8a86f94f-bc51-45b1-baba-7f5d30607298" providerId="ADAL" clId="{12126C74-8380-4416-AB41-D42486FEE1A5}" dt="2025-06-13T12:05:07.759" v="1105" actId="1035"/>
          <ac:spMkLst>
            <pc:docMk/>
            <pc:sldMk cId="2891399107" sldId="1335"/>
            <ac:spMk id="2" creationId="{DF0A4362-B8C4-C485-D440-8E5C56061B29}"/>
          </ac:spMkLst>
        </pc:spChg>
      </pc:sldChg>
      <pc:sldChg chg="modSp mod">
        <pc:chgData name="Divya Rank" userId="8a86f94f-bc51-45b1-baba-7f5d30607298" providerId="ADAL" clId="{12126C74-8380-4416-AB41-D42486FEE1A5}" dt="2025-06-13T11:23:35.388" v="437" actId="1076"/>
        <pc:sldMkLst>
          <pc:docMk/>
          <pc:sldMk cId="1966804136" sldId="1368"/>
        </pc:sldMkLst>
        <pc:spChg chg="mod">
          <ac:chgData name="Divya Rank" userId="8a86f94f-bc51-45b1-baba-7f5d30607298" providerId="ADAL" clId="{12126C74-8380-4416-AB41-D42486FEE1A5}" dt="2025-06-13T11:22:37.875" v="430" actId="1076"/>
          <ac:spMkLst>
            <pc:docMk/>
            <pc:sldMk cId="1966804136" sldId="1368"/>
            <ac:spMk id="31" creationId="{9601432F-204B-DD4A-AC28-E6D01451525B}"/>
          </ac:spMkLst>
        </pc:spChg>
        <pc:spChg chg="mod">
          <ac:chgData name="Divya Rank" userId="8a86f94f-bc51-45b1-baba-7f5d30607298" providerId="ADAL" clId="{12126C74-8380-4416-AB41-D42486FEE1A5}" dt="2025-06-13T11:21:58.555" v="419" actId="1035"/>
          <ac:spMkLst>
            <pc:docMk/>
            <pc:sldMk cId="1966804136" sldId="1368"/>
            <ac:spMk id="32" creationId="{E72C3D43-E5E9-681F-EEAD-9E9BB4F47D40}"/>
          </ac:spMkLst>
        </pc:spChg>
        <pc:spChg chg="mod">
          <ac:chgData name="Divya Rank" userId="8a86f94f-bc51-45b1-baba-7f5d30607298" providerId="ADAL" clId="{12126C74-8380-4416-AB41-D42486FEE1A5}" dt="2025-06-13T11:23:27.251" v="436" actId="1076"/>
          <ac:spMkLst>
            <pc:docMk/>
            <pc:sldMk cId="1966804136" sldId="1368"/>
            <ac:spMk id="34" creationId="{62F79462-463C-681F-06EE-7233BABB559B}"/>
          </ac:spMkLst>
        </pc:spChg>
        <pc:spChg chg="mod">
          <ac:chgData name="Divya Rank" userId="8a86f94f-bc51-45b1-baba-7f5d30607298" providerId="ADAL" clId="{12126C74-8380-4416-AB41-D42486FEE1A5}" dt="2025-06-13T11:21:46.577" v="403" actId="1035"/>
          <ac:spMkLst>
            <pc:docMk/>
            <pc:sldMk cId="1966804136" sldId="1368"/>
            <ac:spMk id="35" creationId="{BCFF16C5-A84E-92D9-5436-394D5C054B54}"/>
          </ac:spMkLst>
        </pc:spChg>
        <pc:spChg chg="mod">
          <ac:chgData name="Divya Rank" userId="8a86f94f-bc51-45b1-baba-7f5d30607298" providerId="ADAL" clId="{12126C74-8380-4416-AB41-D42486FEE1A5}" dt="2025-06-13T11:23:35.388" v="437" actId="1076"/>
          <ac:spMkLst>
            <pc:docMk/>
            <pc:sldMk cId="1966804136" sldId="1368"/>
            <ac:spMk id="59" creationId="{A534172B-7C30-B6CC-130C-18119FD225D6}"/>
          </ac:spMkLst>
        </pc:spChg>
        <pc:spChg chg="mod">
          <ac:chgData name="Divya Rank" userId="8a86f94f-bc51-45b1-baba-7f5d30607298" providerId="ADAL" clId="{12126C74-8380-4416-AB41-D42486FEE1A5}" dt="2025-06-13T11:22:12.057" v="421" actId="1076"/>
          <ac:spMkLst>
            <pc:docMk/>
            <pc:sldMk cId="1966804136" sldId="1368"/>
            <ac:spMk id="68" creationId="{DECA4CD8-FD6B-3192-C4EC-02FE201C8135}"/>
          </ac:spMkLst>
        </pc:spChg>
        <pc:spChg chg="mod">
          <ac:chgData name="Divya Rank" userId="8a86f94f-bc51-45b1-baba-7f5d30607298" providerId="ADAL" clId="{12126C74-8380-4416-AB41-D42486FEE1A5}" dt="2025-06-13T11:22:29.350" v="429" actId="1035"/>
          <ac:spMkLst>
            <pc:docMk/>
            <pc:sldMk cId="1966804136" sldId="1368"/>
            <ac:spMk id="69" creationId="{69AD4B54-8051-A3FC-B7DB-28FA7E8CB187}"/>
          </ac:spMkLst>
        </pc:spChg>
        <pc:spChg chg="mod">
          <ac:chgData name="Divya Rank" userId="8a86f94f-bc51-45b1-baba-7f5d30607298" providerId="ADAL" clId="{12126C74-8380-4416-AB41-D42486FEE1A5}" dt="2025-06-13T11:22:23.769" v="422" actId="1076"/>
          <ac:spMkLst>
            <pc:docMk/>
            <pc:sldMk cId="1966804136" sldId="1368"/>
            <ac:spMk id="70" creationId="{68A93FF5-4C56-0C89-ED57-AB4B27FE00DC}"/>
          </ac:spMkLst>
        </pc:spChg>
        <pc:spChg chg="mod">
          <ac:chgData name="Divya Rank" userId="8a86f94f-bc51-45b1-baba-7f5d30607298" providerId="ADAL" clId="{12126C74-8380-4416-AB41-D42486FEE1A5}" dt="2025-06-13T11:21:46.577" v="403" actId="1035"/>
          <ac:spMkLst>
            <pc:docMk/>
            <pc:sldMk cId="1966804136" sldId="1368"/>
            <ac:spMk id="73" creationId="{22C87AE9-5F72-BF75-A5DD-1B858489D6CF}"/>
          </ac:spMkLst>
        </pc:spChg>
        <pc:spChg chg="mod">
          <ac:chgData name="Divya Rank" userId="8a86f94f-bc51-45b1-baba-7f5d30607298" providerId="ADAL" clId="{12126C74-8380-4416-AB41-D42486FEE1A5}" dt="2025-06-13T11:23:17.841" v="432" actId="1076"/>
          <ac:spMkLst>
            <pc:docMk/>
            <pc:sldMk cId="1966804136" sldId="1368"/>
            <ac:spMk id="74" creationId="{FA8117EA-2F85-5531-4CCB-0C705D450F59}"/>
          </ac:spMkLst>
        </pc:spChg>
      </pc:sldChg>
      <pc:sldChg chg="modSp mod">
        <pc:chgData name="Divya Rank" userId="8a86f94f-bc51-45b1-baba-7f5d30607298" providerId="ADAL" clId="{12126C74-8380-4416-AB41-D42486FEE1A5}" dt="2025-06-13T12:43:11.691" v="1213" actId="14100"/>
        <pc:sldMkLst>
          <pc:docMk/>
          <pc:sldMk cId="130700123" sldId="1369"/>
        </pc:sldMkLst>
        <pc:spChg chg="mod">
          <ac:chgData name="Divya Rank" userId="8a86f94f-bc51-45b1-baba-7f5d30607298" providerId="ADAL" clId="{12126C74-8380-4416-AB41-D42486FEE1A5}" dt="2025-06-13T12:43:07.765" v="1212" actId="14100"/>
          <ac:spMkLst>
            <pc:docMk/>
            <pc:sldMk cId="130700123" sldId="1369"/>
            <ac:spMk id="27" creationId="{B7E81F99-BB58-8C9E-ED27-EB094D64C91C}"/>
          </ac:spMkLst>
        </pc:spChg>
        <pc:spChg chg="mod">
          <ac:chgData name="Divya Rank" userId="8a86f94f-bc51-45b1-baba-7f5d30607298" providerId="ADAL" clId="{12126C74-8380-4416-AB41-D42486FEE1A5}" dt="2025-06-13T12:43:11.691" v="1213" actId="14100"/>
          <ac:spMkLst>
            <pc:docMk/>
            <pc:sldMk cId="130700123" sldId="1369"/>
            <ac:spMk id="30" creationId="{E68E64E5-5D4D-974A-8ACB-0FD55DE48396}"/>
          </ac:spMkLst>
        </pc:spChg>
      </pc:sldChg>
      <pc:sldChg chg="delSp modSp mod">
        <pc:chgData name="Divya Rank" userId="8a86f94f-bc51-45b1-baba-7f5d30607298" providerId="ADAL" clId="{12126C74-8380-4416-AB41-D42486FEE1A5}" dt="2025-06-13T12:46:51.360" v="1304" actId="1076"/>
        <pc:sldMkLst>
          <pc:docMk/>
          <pc:sldMk cId="1056810274" sldId="1370"/>
        </pc:sldMkLst>
        <pc:spChg chg="mod">
          <ac:chgData name="Divya Rank" userId="8a86f94f-bc51-45b1-baba-7f5d30607298" providerId="ADAL" clId="{12126C74-8380-4416-AB41-D42486FEE1A5}" dt="2025-06-13T11:23:58.434" v="438" actId="255"/>
          <ac:spMkLst>
            <pc:docMk/>
            <pc:sldMk cId="1056810274" sldId="1370"/>
            <ac:spMk id="4" creationId="{5A14BD05-70B8-5B0C-AD64-B8FA9DC5982B}"/>
          </ac:spMkLst>
        </pc:spChg>
        <pc:spChg chg="mod">
          <ac:chgData name="Divya Rank" userId="8a86f94f-bc51-45b1-baba-7f5d30607298" providerId="ADAL" clId="{12126C74-8380-4416-AB41-D42486FEE1A5}" dt="2025-06-13T12:46:51.360" v="1304" actId="1076"/>
          <ac:spMkLst>
            <pc:docMk/>
            <pc:sldMk cId="1056810274" sldId="1370"/>
            <ac:spMk id="7" creationId="{BD772977-435C-DEA9-3F0C-C48D7921ED8F}"/>
          </ac:spMkLst>
        </pc:spChg>
        <pc:spChg chg="mod">
          <ac:chgData name="Divya Rank" userId="8a86f94f-bc51-45b1-baba-7f5d30607298" providerId="ADAL" clId="{12126C74-8380-4416-AB41-D42486FEE1A5}" dt="2025-06-13T12:46:05.549" v="1276" actId="1076"/>
          <ac:spMkLst>
            <pc:docMk/>
            <pc:sldMk cId="1056810274" sldId="1370"/>
            <ac:spMk id="10" creationId="{AD561A6D-B103-1EDD-8331-5FB1E814EAA7}"/>
          </ac:spMkLst>
        </pc:spChg>
        <pc:spChg chg="mod">
          <ac:chgData name="Divya Rank" userId="8a86f94f-bc51-45b1-baba-7f5d30607298" providerId="ADAL" clId="{12126C74-8380-4416-AB41-D42486FEE1A5}" dt="2025-06-13T12:45:22.899" v="1264"/>
          <ac:spMkLst>
            <pc:docMk/>
            <pc:sldMk cId="1056810274" sldId="1370"/>
            <ac:spMk id="11" creationId="{A94B7F01-CD2C-3FB9-634F-6E88A43D032E}"/>
          </ac:spMkLst>
        </pc:spChg>
        <pc:spChg chg="mod">
          <ac:chgData name="Divya Rank" userId="8a86f94f-bc51-45b1-baba-7f5d30607298" providerId="ADAL" clId="{12126C74-8380-4416-AB41-D42486FEE1A5}" dt="2025-06-13T12:44:46.898" v="1241" actId="21"/>
          <ac:spMkLst>
            <pc:docMk/>
            <pc:sldMk cId="1056810274" sldId="1370"/>
            <ac:spMk id="13" creationId="{33D63659-1980-5AFB-2C13-CA2F3E52BC6E}"/>
          </ac:spMkLst>
        </pc:spChg>
        <pc:spChg chg="mod">
          <ac:chgData name="Divya Rank" userId="8a86f94f-bc51-45b1-baba-7f5d30607298" providerId="ADAL" clId="{12126C74-8380-4416-AB41-D42486FEE1A5}" dt="2025-06-13T12:44:36.388" v="1240" actId="255"/>
          <ac:spMkLst>
            <pc:docMk/>
            <pc:sldMk cId="1056810274" sldId="1370"/>
            <ac:spMk id="14" creationId="{385CA6B3-4DA3-F044-4FE0-E156CA1CBB40}"/>
          </ac:spMkLst>
        </pc:spChg>
        <pc:spChg chg="mod">
          <ac:chgData name="Divya Rank" userId="8a86f94f-bc51-45b1-baba-7f5d30607298" providerId="ADAL" clId="{12126C74-8380-4416-AB41-D42486FEE1A5}" dt="2025-06-13T12:44:55.531" v="1246" actId="21"/>
          <ac:spMkLst>
            <pc:docMk/>
            <pc:sldMk cId="1056810274" sldId="1370"/>
            <ac:spMk id="16" creationId="{65D4BA44-A1F8-E265-789C-A1B12A78FF7E}"/>
          </ac:spMkLst>
        </pc:spChg>
        <pc:spChg chg="mod">
          <ac:chgData name="Divya Rank" userId="8a86f94f-bc51-45b1-baba-7f5d30607298" providerId="ADAL" clId="{12126C74-8380-4416-AB41-D42486FEE1A5}" dt="2025-06-13T12:44:36.388" v="1240" actId="255"/>
          <ac:spMkLst>
            <pc:docMk/>
            <pc:sldMk cId="1056810274" sldId="1370"/>
            <ac:spMk id="17" creationId="{F98F0266-68FB-B224-7B83-F5F79F8FAE72}"/>
          </ac:spMkLst>
        </pc:spChg>
        <pc:spChg chg="mod">
          <ac:chgData name="Divya Rank" userId="8a86f94f-bc51-45b1-baba-7f5d30607298" providerId="ADAL" clId="{12126C74-8380-4416-AB41-D42486FEE1A5}" dt="2025-06-13T12:45:00.465" v="1250" actId="21"/>
          <ac:spMkLst>
            <pc:docMk/>
            <pc:sldMk cId="1056810274" sldId="1370"/>
            <ac:spMk id="19" creationId="{F33B2D95-58E2-1ADD-76B3-8C6E448DFD6E}"/>
          </ac:spMkLst>
        </pc:spChg>
        <pc:spChg chg="mod">
          <ac:chgData name="Divya Rank" userId="8a86f94f-bc51-45b1-baba-7f5d30607298" providerId="ADAL" clId="{12126C74-8380-4416-AB41-D42486FEE1A5}" dt="2025-06-13T12:45:09.098" v="1254" actId="21"/>
          <ac:spMkLst>
            <pc:docMk/>
            <pc:sldMk cId="1056810274" sldId="1370"/>
            <ac:spMk id="20" creationId="{86B531C2-FA08-A59D-08E2-E0D7CF4EEBED}"/>
          </ac:spMkLst>
        </pc:spChg>
        <pc:spChg chg="mod">
          <ac:chgData name="Divya Rank" userId="8a86f94f-bc51-45b1-baba-7f5d30607298" providerId="ADAL" clId="{12126C74-8380-4416-AB41-D42486FEE1A5}" dt="2025-06-13T12:45:14.195" v="1258" actId="21"/>
          <ac:spMkLst>
            <pc:docMk/>
            <pc:sldMk cId="1056810274" sldId="1370"/>
            <ac:spMk id="22" creationId="{D48D4865-7411-788D-9DDF-7DF989E9C040}"/>
          </ac:spMkLst>
        </pc:spChg>
        <pc:spChg chg="mod">
          <ac:chgData name="Divya Rank" userId="8a86f94f-bc51-45b1-baba-7f5d30607298" providerId="ADAL" clId="{12126C74-8380-4416-AB41-D42486FEE1A5}" dt="2025-06-13T12:45:20.795" v="1262" actId="21"/>
          <ac:spMkLst>
            <pc:docMk/>
            <pc:sldMk cId="1056810274" sldId="1370"/>
            <ac:spMk id="23" creationId="{521D5F80-AA3B-70B7-98A4-8E0F60DDEA9F}"/>
          </ac:spMkLst>
        </pc:spChg>
        <pc:grpChg chg="mod">
          <ac:chgData name="Divya Rank" userId="8a86f94f-bc51-45b1-baba-7f5d30607298" providerId="ADAL" clId="{12126C74-8380-4416-AB41-D42486FEE1A5}" dt="2025-06-13T12:44:25.651" v="1238"/>
          <ac:grpSpMkLst>
            <pc:docMk/>
            <pc:sldMk cId="1056810274" sldId="1370"/>
            <ac:grpSpMk id="32" creationId="{6FA72A44-74E1-545F-4532-5112A817B402}"/>
          </ac:grpSpMkLst>
        </pc:grpChg>
        <pc:grpChg chg="mod">
          <ac:chgData name="Divya Rank" userId="8a86f94f-bc51-45b1-baba-7f5d30607298" providerId="ADAL" clId="{12126C74-8380-4416-AB41-D42486FEE1A5}" dt="2025-06-13T12:43:41.901" v="1221"/>
          <ac:grpSpMkLst>
            <pc:docMk/>
            <pc:sldMk cId="1056810274" sldId="1370"/>
            <ac:grpSpMk id="33" creationId="{CE1949A6-6C9F-D3CB-E6CE-E5B0537C06BE}"/>
          </ac:grpSpMkLst>
        </pc:grpChg>
        <pc:grpChg chg="mod">
          <ac:chgData name="Divya Rank" userId="8a86f94f-bc51-45b1-baba-7f5d30607298" providerId="ADAL" clId="{12126C74-8380-4416-AB41-D42486FEE1A5}" dt="2025-06-13T12:46:33.957" v="1302" actId="1036"/>
          <ac:grpSpMkLst>
            <pc:docMk/>
            <pc:sldMk cId="1056810274" sldId="1370"/>
            <ac:grpSpMk id="34" creationId="{2EC70053-7662-C3B7-42DF-EEF6B374B447}"/>
          </ac:grpSpMkLst>
        </pc:grpChg>
        <pc:picChg chg="mod modCrop">
          <ac:chgData name="Divya Rank" userId="8a86f94f-bc51-45b1-baba-7f5d30607298" providerId="ADAL" clId="{12126C74-8380-4416-AB41-D42486FEE1A5}" dt="2025-06-13T12:46:42.125" v="1303" actId="732"/>
          <ac:picMkLst>
            <pc:docMk/>
            <pc:sldMk cId="1056810274" sldId="1370"/>
            <ac:picMk id="3" creationId="{60E7967C-FD6B-C96A-D623-E30087D98CF8}"/>
          </ac:picMkLst>
        </pc:picChg>
      </pc:sldChg>
      <pc:sldChg chg="addSp modSp mod">
        <pc:chgData name="Divya Rank" userId="8a86f94f-bc51-45b1-baba-7f5d30607298" providerId="ADAL" clId="{12126C74-8380-4416-AB41-D42486FEE1A5}" dt="2025-06-13T14:01:18.670" v="4068" actId="1038"/>
        <pc:sldMkLst>
          <pc:docMk/>
          <pc:sldMk cId="2865006180" sldId="1371"/>
        </pc:sldMkLst>
        <pc:spChg chg="mod">
          <ac:chgData name="Divya Rank" userId="8a86f94f-bc51-45b1-baba-7f5d30607298" providerId="ADAL" clId="{12126C74-8380-4416-AB41-D42486FEE1A5}" dt="2025-06-13T14:01:18.670" v="4068" actId="1038"/>
          <ac:spMkLst>
            <pc:docMk/>
            <pc:sldMk cId="2865006180" sldId="1371"/>
            <ac:spMk id="2" creationId="{A253A976-796C-94AA-EA6C-BF2463930129}"/>
          </ac:spMkLst>
        </pc:spChg>
        <pc:spChg chg="mod">
          <ac:chgData name="Divya Rank" userId="8a86f94f-bc51-45b1-baba-7f5d30607298" providerId="ADAL" clId="{12126C74-8380-4416-AB41-D42486FEE1A5}" dt="2025-06-13T12:47:13.747" v="1305" actId="255"/>
          <ac:spMkLst>
            <pc:docMk/>
            <pc:sldMk cId="2865006180" sldId="1371"/>
            <ac:spMk id="6" creationId="{F18DF8E3-06A2-0C6B-636A-A25F6078F7F9}"/>
          </ac:spMkLst>
        </pc:spChg>
        <pc:spChg chg="mod">
          <ac:chgData name="Divya Rank" userId="8a86f94f-bc51-45b1-baba-7f5d30607298" providerId="ADAL" clId="{12126C74-8380-4416-AB41-D42486FEE1A5}" dt="2025-06-13T12:47:13.747" v="1305" actId="255"/>
          <ac:spMkLst>
            <pc:docMk/>
            <pc:sldMk cId="2865006180" sldId="1371"/>
            <ac:spMk id="7" creationId="{4454CEE2-9EB5-C5B1-8F96-8E4CAFF1CBE5}"/>
          </ac:spMkLst>
        </pc:spChg>
        <pc:spChg chg="mod">
          <ac:chgData name="Divya Rank" userId="8a86f94f-bc51-45b1-baba-7f5d30607298" providerId="ADAL" clId="{12126C74-8380-4416-AB41-D42486FEE1A5}" dt="2025-06-13T12:48:42.546" v="1311" actId="14100"/>
          <ac:spMkLst>
            <pc:docMk/>
            <pc:sldMk cId="2865006180" sldId="1371"/>
            <ac:spMk id="30" creationId="{53BCDB01-A7B4-818A-F970-AD31BD3C6D60}"/>
          </ac:spMkLst>
        </pc:spChg>
        <pc:spChg chg="mod">
          <ac:chgData name="Divya Rank" userId="8a86f94f-bc51-45b1-baba-7f5d30607298" providerId="ADAL" clId="{12126C74-8380-4416-AB41-D42486FEE1A5}" dt="2025-06-13T12:48:46.503" v="1312" actId="1076"/>
          <ac:spMkLst>
            <pc:docMk/>
            <pc:sldMk cId="2865006180" sldId="1371"/>
            <ac:spMk id="31" creationId="{8B1A2B0E-3B70-8A92-2FBC-C7C3B77567F7}"/>
          </ac:spMkLst>
        </pc:spChg>
        <pc:spChg chg="mod">
          <ac:chgData name="Divya Rank" userId="8a86f94f-bc51-45b1-baba-7f5d30607298" providerId="ADAL" clId="{12126C74-8380-4416-AB41-D42486FEE1A5}" dt="2025-06-13T12:48:54.460" v="1313" actId="1076"/>
          <ac:spMkLst>
            <pc:docMk/>
            <pc:sldMk cId="2865006180" sldId="1371"/>
            <ac:spMk id="32" creationId="{A3DCE5D5-EA9F-769E-30C5-FFEC30727122}"/>
          </ac:spMkLst>
        </pc:spChg>
        <pc:spChg chg="mod">
          <ac:chgData name="Divya Rank" userId="8a86f94f-bc51-45b1-baba-7f5d30607298" providerId="ADAL" clId="{12126C74-8380-4416-AB41-D42486FEE1A5}" dt="2025-06-13T12:48:29.595" v="1308" actId="255"/>
          <ac:spMkLst>
            <pc:docMk/>
            <pc:sldMk cId="2865006180" sldId="1371"/>
            <ac:spMk id="34" creationId="{8B53D093-3ECF-B1D9-78B8-C79911C50A67}"/>
          </ac:spMkLst>
        </pc:spChg>
        <pc:spChg chg="mod">
          <ac:chgData name="Divya Rank" userId="8a86f94f-bc51-45b1-baba-7f5d30607298" providerId="ADAL" clId="{12126C74-8380-4416-AB41-D42486FEE1A5}" dt="2025-06-13T12:48:29.595" v="1308" actId="255"/>
          <ac:spMkLst>
            <pc:docMk/>
            <pc:sldMk cId="2865006180" sldId="1371"/>
            <ac:spMk id="35" creationId="{81638254-119E-017A-2238-61F73003E30B}"/>
          </ac:spMkLst>
        </pc:spChg>
        <pc:spChg chg="mod">
          <ac:chgData name="Divya Rank" userId="8a86f94f-bc51-45b1-baba-7f5d30607298" providerId="ADAL" clId="{12126C74-8380-4416-AB41-D42486FEE1A5}" dt="2025-06-13T12:49:04.056" v="1314" actId="1076"/>
          <ac:spMkLst>
            <pc:docMk/>
            <pc:sldMk cId="2865006180" sldId="1371"/>
            <ac:spMk id="37" creationId="{59A03E17-CE97-09AC-3F89-9CFFD5AA19C9}"/>
          </ac:spMkLst>
        </pc:spChg>
        <pc:grpChg chg="add">
          <ac:chgData name="Divya Rank" userId="8a86f94f-bc51-45b1-baba-7f5d30607298" providerId="ADAL" clId="{12126C74-8380-4416-AB41-D42486FEE1A5}" dt="2025-06-13T12:49:23.577" v="1316" actId="164"/>
          <ac:grpSpMkLst>
            <pc:docMk/>
            <pc:sldMk cId="2865006180" sldId="1371"/>
            <ac:grpSpMk id="8" creationId="{112F2C26-E283-73F4-3925-EAC4182363BE}"/>
          </ac:grpSpMkLst>
        </pc:grpChg>
        <pc:grpChg chg="add">
          <ac:chgData name="Divya Rank" userId="8a86f94f-bc51-45b1-baba-7f5d30607298" providerId="ADAL" clId="{12126C74-8380-4416-AB41-D42486FEE1A5}" dt="2025-06-13T12:49:28.381" v="1317" actId="164"/>
          <ac:grpSpMkLst>
            <pc:docMk/>
            <pc:sldMk cId="2865006180" sldId="1371"/>
            <ac:grpSpMk id="9" creationId="{ECE5F6AC-3913-3D89-CC65-3C9B8A7FADAA}"/>
          </ac:grpSpMkLst>
        </pc:grpChg>
        <pc:grpChg chg="add">
          <ac:chgData name="Divya Rank" userId="8a86f94f-bc51-45b1-baba-7f5d30607298" providerId="ADAL" clId="{12126C74-8380-4416-AB41-D42486FEE1A5}" dt="2025-06-13T12:49:33.297" v="1318" actId="164"/>
          <ac:grpSpMkLst>
            <pc:docMk/>
            <pc:sldMk cId="2865006180" sldId="1371"/>
            <ac:grpSpMk id="10" creationId="{DB0F247B-37A0-7E84-305C-F4504E208B09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4:01:08.887" v="4066" actId="1038"/>
        <pc:sldMkLst>
          <pc:docMk/>
          <pc:sldMk cId="2954267522" sldId="1372"/>
        </pc:sldMkLst>
        <pc:spChg chg="mod">
          <ac:chgData name="Divya Rank" userId="8a86f94f-bc51-45b1-baba-7f5d30607298" providerId="ADAL" clId="{12126C74-8380-4416-AB41-D42486FEE1A5}" dt="2025-06-13T14:01:08.887" v="4066" actId="1038"/>
          <ac:spMkLst>
            <pc:docMk/>
            <pc:sldMk cId="2954267522" sldId="1372"/>
            <ac:spMk id="2" creationId="{BF4C30ED-7105-75F6-C612-1DB6CB19C2CC}"/>
          </ac:spMkLst>
        </pc:spChg>
        <pc:spChg chg="mod">
          <ac:chgData name="Divya Rank" userId="8a86f94f-bc51-45b1-baba-7f5d30607298" providerId="ADAL" clId="{12126C74-8380-4416-AB41-D42486FEE1A5}" dt="2025-06-13T12:56:18.444" v="1439" actId="1076"/>
          <ac:spMkLst>
            <pc:docMk/>
            <pc:sldMk cId="2954267522" sldId="1372"/>
            <ac:spMk id="3" creationId="{D71D77F9-0125-2165-DE2D-6541B136902D}"/>
          </ac:spMkLst>
        </pc:spChg>
        <pc:spChg chg="mod topLvl">
          <ac:chgData name="Divya Rank" userId="8a86f94f-bc51-45b1-baba-7f5d30607298" providerId="ADAL" clId="{12126C74-8380-4416-AB41-D42486FEE1A5}" dt="2025-06-13T12:56:32.993" v="1442" actId="14100"/>
          <ac:spMkLst>
            <pc:docMk/>
            <pc:sldMk cId="2954267522" sldId="1372"/>
            <ac:spMk id="6" creationId="{912467F1-6526-B33B-23AC-45E2823731EF}"/>
          </ac:spMkLst>
        </pc:spChg>
        <pc:spChg chg="mod">
          <ac:chgData name="Divya Rank" userId="8a86f94f-bc51-45b1-baba-7f5d30607298" providerId="ADAL" clId="{12126C74-8380-4416-AB41-D42486FEE1A5}" dt="2025-06-13T12:55:06.220" v="1418" actId="21"/>
          <ac:spMkLst>
            <pc:docMk/>
            <pc:sldMk cId="2954267522" sldId="1372"/>
            <ac:spMk id="10" creationId="{7EA57335-EBFF-8126-F0F7-302E5F1A4444}"/>
          </ac:spMkLst>
        </pc:spChg>
        <pc:spChg chg="mod">
          <ac:chgData name="Divya Rank" userId="8a86f94f-bc51-45b1-baba-7f5d30607298" providerId="ADAL" clId="{12126C74-8380-4416-AB41-D42486FEE1A5}" dt="2025-06-13T12:52:22.953" v="1355" actId="2710"/>
          <ac:spMkLst>
            <pc:docMk/>
            <pc:sldMk cId="2954267522" sldId="1372"/>
            <ac:spMk id="11" creationId="{74199FAA-4A50-2497-9C0B-39814A2D296D}"/>
          </ac:spMkLst>
        </pc:spChg>
        <pc:spChg chg="mod">
          <ac:chgData name="Divya Rank" userId="8a86f94f-bc51-45b1-baba-7f5d30607298" providerId="ADAL" clId="{12126C74-8380-4416-AB41-D42486FEE1A5}" dt="2025-06-13T12:55:12.549" v="1422" actId="21"/>
          <ac:spMkLst>
            <pc:docMk/>
            <pc:sldMk cId="2954267522" sldId="1372"/>
            <ac:spMk id="13" creationId="{6C89C0A2-03CD-EF5A-9B86-36211F67E137}"/>
          </ac:spMkLst>
        </pc:spChg>
        <pc:spChg chg="mod">
          <ac:chgData name="Divya Rank" userId="8a86f94f-bc51-45b1-baba-7f5d30607298" providerId="ADAL" clId="{12126C74-8380-4416-AB41-D42486FEE1A5}" dt="2025-06-13T12:52:22.953" v="1355" actId="2710"/>
          <ac:spMkLst>
            <pc:docMk/>
            <pc:sldMk cId="2954267522" sldId="1372"/>
            <ac:spMk id="14" creationId="{874BDB5E-635A-693A-C83F-DC4B8DD03505}"/>
          </ac:spMkLst>
        </pc:spChg>
        <pc:spChg chg="mod">
          <ac:chgData name="Divya Rank" userId="8a86f94f-bc51-45b1-baba-7f5d30607298" providerId="ADAL" clId="{12126C74-8380-4416-AB41-D42486FEE1A5}" dt="2025-06-13T12:55:18.325" v="1426" actId="21"/>
          <ac:spMkLst>
            <pc:docMk/>
            <pc:sldMk cId="2954267522" sldId="1372"/>
            <ac:spMk id="16" creationId="{0FC32FB2-9538-DBCE-C749-FB845E3B605C}"/>
          </ac:spMkLst>
        </pc:spChg>
        <pc:spChg chg="mod">
          <ac:chgData name="Divya Rank" userId="8a86f94f-bc51-45b1-baba-7f5d30607298" providerId="ADAL" clId="{12126C74-8380-4416-AB41-D42486FEE1A5}" dt="2025-06-13T12:52:22.953" v="1355" actId="2710"/>
          <ac:spMkLst>
            <pc:docMk/>
            <pc:sldMk cId="2954267522" sldId="1372"/>
            <ac:spMk id="17" creationId="{2D3E9EDA-B6BF-D9A0-4292-F73A791C833C}"/>
          </ac:spMkLst>
        </pc:spChg>
        <pc:grpChg chg="mod">
          <ac:chgData name="Divya Rank" userId="8a86f94f-bc51-45b1-baba-7f5d30607298" providerId="ADAL" clId="{12126C74-8380-4416-AB41-D42486FEE1A5}" dt="2025-06-13T12:53:30.526" v="1396" actId="1076"/>
          <ac:grpSpMkLst>
            <pc:docMk/>
            <pc:sldMk cId="2954267522" sldId="1372"/>
            <ac:grpSpMk id="22" creationId="{A3AB6C44-5F0F-A700-CC84-98BB3AFD9533}"/>
          </ac:grpSpMkLst>
        </pc:grpChg>
        <pc:grpChg chg="mod">
          <ac:chgData name="Divya Rank" userId="8a86f94f-bc51-45b1-baba-7f5d30607298" providerId="ADAL" clId="{12126C74-8380-4416-AB41-D42486FEE1A5}" dt="2025-06-13T12:52:52.840" v="1373" actId="1076"/>
          <ac:grpSpMkLst>
            <pc:docMk/>
            <pc:sldMk cId="2954267522" sldId="1372"/>
            <ac:grpSpMk id="23" creationId="{7DDA2801-C592-2E51-F26E-9EC892035D20}"/>
          </ac:grpSpMkLst>
        </pc:grpChg>
        <pc:grpChg chg="mod">
          <ac:chgData name="Divya Rank" userId="8a86f94f-bc51-45b1-baba-7f5d30607298" providerId="ADAL" clId="{12126C74-8380-4416-AB41-D42486FEE1A5}" dt="2025-06-13T12:54:26.629" v="1411" actId="14100"/>
          <ac:grpSpMkLst>
            <pc:docMk/>
            <pc:sldMk cId="2954267522" sldId="1372"/>
            <ac:grpSpMk id="24" creationId="{66067295-ACF5-EDE9-59EF-EFCA7CB6EFE8}"/>
          </ac:grpSpMkLst>
        </pc:grpChg>
        <pc:picChg chg="mod ord">
          <ac:chgData name="Divya Rank" userId="8a86f94f-bc51-45b1-baba-7f5d30607298" providerId="ADAL" clId="{12126C74-8380-4416-AB41-D42486FEE1A5}" dt="2025-06-13T12:56:25.911" v="1441" actId="1076"/>
          <ac:picMkLst>
            <pc:docMk/>
            <pc:sldMk cId="2954267522" sldId="1372"/>
            <ac:picMk id="5" creationId="{964712F6-B87E-9477-F428-E4EC9AE0491B}"/>
          </ac:picMkLst>
        </pc:picChg>
      </pc:sldChg>
      <pc:sldChg chg="addSp modSp mod">
        <pc:chgData name="Divya Rank" userId="8a86f94f-bc51-45b1-baba-7f5d30607298" providerId="ADAL" clId="{12126C74-8380-4416-AB41-D42486FEE1A5}" dt="2025-06-13T14:01:38.537" v="4073" actId="1036"/>
        <pc:sldMkLst>
          <pc:docMk/>
          <pc:sldMk cId="2044274387" sldId="1374"/>
        </pc:sldMkLst>
        <pc:spChg chg="mod">
          <ac:chgData name="Divya Rank" userId="8a86f94f-bc51-45b1-baba-7f5d30607298" providerId="ADAL" clId="{12126C74-8380-4416-AB41-D42486FEE1A5}" dt="2025-06-13T14:01:38.537" v="4073" actId="1036"/>
          <ac:spMkLst>
            <pc:docMk/>
            <pc:sldMk cId="2044274387" sldId="1374"/>
            <ac:spMk id="2" creationId="{117A3D6A-A7F1-2067-4BA3-443F26F558F8}"/>
          </ac:spMkLst>
        </pc:spChg>
        <pc:spChg chg="mod">
          <ac:chgData name="Divya Rank" userId="8a86f94f-bc51-45b1-baba-7f5d30607298" providerId="ADAL" clId="{12126C74-8380-4416-AB41-D42486FEE1A5}" dt="2025-06-13T12:57:04.666" v="1448" actId="1076"/>
          <ac:spMkLst>
            <pc:docMk/>
            <pc:sldMk cId="2044274387" sldId="1374"/>
            <ac:spMk id="8" creationId="{54EDCEB9-C0B1-20C0-FBF2-3D912897BDD7}"/>
          </ac:spMkLst>
        </pc:spChg>
        <pc:spChg chg="mod">
          <ac:chgData name="Divya Rank" userId="8a86f94f-bc51-45b1-baba-7f5d30607298" providerId="ADAL" clId="{12126C74-8380-4416-AB41-D42486FEE1A5}" dt="2025-06-13T12:57:41.479" v="1485" actId="14100"/>
          <ac:spMkLst>
            <pc:docMk/>
            <pc:sldMk cId="2044274387" sldId="1374"/>
            <ac:spMk id="18" creationId="{44CA6FB3-4DE2-2B02-DE83-7C3F0C4375D6}"/>
          </ac:spMkLst>
        </pc:spChg>
        <pc:spChg chg="mod">
          <ac:chgData name="Divya Rank" userId="8a86f94f-bc51-45b1-baba-7f5d30607298" providerId="ADAL" clId="{12126C74-8380-4416-AB41-D42486FEE1A5}" dt="2025-06-13T12:57:14.712" v="1449" actId="255"/>
          <ac:spMkLst>
            <pc:docMk/>
            <pc:sldMk cId="2044274387" sldId="1374"/>
            <ac:spMk id="19" creationId="{1EDFD52E-0747-32B5-4FBC-E1416ABE99FA}"/>
          </ac:spMkLst>
        </pc:spChg>
        <pc:spChg chg="mod">
          <ac:chgData name="Divya Rank" userId="8a86f94f-bc51-45b1-baba-7f5d30607298" providerId="ADAL" clId="{12126C74-8380-4416-AB41-D42486FEE1A5}" dt="2025-06-13T12:57:47.131" v="1486" actId="1076"/>
          <ac:spMkLst>
            <pc:docMk/>
            <pc:sldMk cId="2044274387" sldId="1374"/>
            <ac:spMk id="20" creationId="{2F753252-68FC-ED25-7DE3-5BAD3D7AF838}"/>
          </ac:spMkLst>
        </pc:spChg>
        <pc:spChg chg="mod">
          <ac:chgData name="Divya Rank" userId="8a86f94f-bc51-45b1-baba-7f5d30607298" providerId="ADAL" clId="{12126C74-8380-4416-AB41-D42486FEE1A5}" dt="2025-06-13T12:57:14.712" v="1449" actId="255"/>
          <ac:spMkLst>
            <pc:docMk/>
            <pc:sldMk cId="2044274387" sldId="1374"/>
            <ac:spMk id="21" creationId="{48E718C4-9472-AFAD-AF90-BBD001B092EE}"/>
          </ac:spMkLst>
        </pc:spChg>
        <pc:spChg chg="mod">
          <ac:chgData name="Divya Rank" userId="8a86f94f-bc51-45b1-baba-7f5d30607298" providerId="ADAL" clId="{12126C74-8380-4416-AB41-D42486FEE1A5}" dt="2025-06-13T12:57:14.712" v="1449" actId="255"/>
          <ac:spMkLst>
            <pc:docMk/>
            <pc:sldMk cId="2044274387" sldId="1374"/>
            <ac:spMk id="22" creationId="{7D7D4B5C-655C-FF9A-BEB1-FABA9633A30C}"/>
          </ac:spMkLst>
        </pc:spChg>
        <pc:spChg chg="mod">
          <ac:chgData name="Divya Rank" userId="8a86f94f-bc51-45b1-baba-7f5d30607298" providerId="ADAL" clId="{12126C74-8380-4416-AB41-D42486FEE1A5}" dt="2025-06-13T12:57:54.572" v="1487" actId="1076"/>
          <ac:spMkLst>
            <pc:docMk/>
            <pc:sldMk cId="2044274387" sldId="1374"/>
            <ac:spMk id="23" creationId="{FE06691F-2160-99ED-D700-9764C28AD3C5}"/>
          </ac:spMkLst>
        </pc:spChg>
        <pc:spChg chg="mod">
          <ac:chgData name="Divya Rank" userId="8a86f94f-bc51-45b1-baba-7f5d30607298" providerId="ADAL" clId="{12126C74-8380-4416-AB41-D42486FEE1A5}" dt="2025-06-13T12:58:07.773" v="1489" actId="14100"/>
          <ac:spMkLst>
            <pc:docMk/>
            <pc:sldMk cId="2044274387" sldId="1374"/>
            <ac:spMk id="24" creationId="{86424882-C103-81BD-BC47-64272B6727CC}"/>
          </ac:spMkLst>
        </pc:spChg>
        <pc:spChg chg="mod">
          <ac:chgData name="Divya Rank" userId="8a86f94f-bc51-45b1-baba-7f5d30607298" providerId="ADAL" clId="{12126C74-8380-4416-AB41-D42486FEE1A5}" dt="2025-06-13T12:57:14.712" v="1449" actId="255"/>
          <ac:spMkLst>
            <pc:docMk/>
            <pc:sldMk cId="2044274387" sldId="1374"/>
            <ac:spMk id="25" creationId="{ADDE4CF2-354F-E717-366D-7806ECF563C6}"/>
          </ac:spMkLst>
        </pc:spChg>
        <pc:spChg chg="mod">
          <ac:chgData name="Divya Rank" userId="8a86f94f-bc51-45b1-baba-7f5d30607298" providerId="ADAL" clId="{12126C74-8380-4416-AB41-D42486FEE1A5}" dt="2025-06-13T12:58:17.958" v="1490" actId="1076"/>
          <ac:spMkLst>
            <pc:docMk/>
            <pc:sldMk cId="2044274387" sldId="1374"/>
            <ac:spMk id="26" creationId="{B4C3A667-1A21-F1C1-B3E0-BD25CB0618C5}"/>
          </ac:spMkLst>
        </pc:spChg>
        <pc:spChg chg="mod">
          <ac:chgData name="Divya Rank" userId="8a86f94f-bc51-45b1-baba-7f5d30607298" providerId="ADAL" clId="{12126C74-8380-4416-AB41-D42486FEE1A5}" dt="2025-06-13T12:57:14.712" v="1449" actId="255"/>
          <ac:spMkLst>
            <pc:docMk/>
            <pc:sldMk cId="2044274387" sldId="1374"/>
            <ac:spMk id="27" creationId="{AA2683FD-71C8-D77A-B143-BDC5B9D871F6}"/>
          </ac:spMkLst>
        </pc:spChg>
        <pc:spChg chg="mod">
          <ac:chgData name="Divya Rank" userId="8a86f94f-bc51-45b1-baba-7f5d30607298" providerId="ADAL" clId="{12126C74-8380-4416-AB41-D42486FEE1A5}" dt="2025-06-13T12:57:14.712" v="1449" actId="255"/>
          <ac:spMkLst>
            <pc:docMk/>
            <pc:sldMk cId="2044274387" sldId="1374"/>
            <ac:spMk id="28" creationId="{5BD486E1-513F-0236-7E59-57F351A9E295}"/>
          </ac:spMkLst>
        </pc:spChg>
        <pc:spChg chg="mod">
          <ac:chgData name="Divya Rank" userId="8a86f94f-bc51-45b1-baba-7f5d30607298" providerId="ADAL" clId="{12126C74-8380-4416-AB41-D42486FEE1A5}" dt="2025-06-13T12:57:59.438" v="1488" actId="1076"/>
          <ac:spMkLst>
            <pc:docMk/>
            <pc:sldMk cId="2044274387" sldId="1374"/>
            <ac:spMk id="29" creationId="{4CAD5E68-8804-8124-E0C3-378B0D31BD7D}"/>
          </ac:spMkLst>
        </pc:spChg>
        <pc:grpChg chg="add mod">
          <ac:chgData name="Divya Rank" userId="8a86f94f-bc51-45b1-baba-7f5d30607298" providerId="ADAL" clId="{12126C74-8380-4416-AB41-D42486FEE1A5}" dt="2025-06-13T12:57:25.471" v="1460" actId="1036"/>
          <ac:grpSpMkLst>
            <pc:docMk/>
            <pc:sldMk cId="2044274387" sldId="1374"/>
            <ac:grpSpMk id="5" creationId="{9E0854A0-DD06-F3A5-22E2-B135516BE410}"/>
          </ac:grpSpMkLst>
        </pc:grpChg>
        <pc:grpChg chg="add mod">
          <ac:chgData name="Divya Rank" userId="8a86f94f-bc51-45b1-baba-7f5d30607298" providerId="ADAL" clId="{12126C74-8380-4416-AB41-D42486FEE1A5}" dt="2025-06-13T12:57:25.471" v="1460" actId="1036"/>
          <ac:grpSpMkLst>
            <pc:docMk/>
            <pc:sldMk cId="2044274387" sldId="1374"/>
            <ac:grpSpMk id="6" creationId="{47B7A8DA-4BEE-05DB-1E09-B3629F8A5549}"/>
          </ac:grpSpMkLst>
        </pc:grpChg>
        <pc:grpChg chg="add mod">
          <ac:chgData name="Divya Rank" userId="8a86f94f-bc51-45b1-baba-7f5d30607298" providerId="ADAL" clId="{12126C74-8380-4416-AB41-D42486FEE1A5}" dt="2025-06-13T12:57:32.429" v="1484" actId="1036"/>
          <ac:grpSpMkLst>
            <pc:docMk/>
            <pc:sldMk cId="2044274387" sldId="1374"/>
            <ac:grpSpMk id="7" creationId="{6BCDC098-E974-5274-461B-E322E4B717C2}"/>
          </ac:grpSpMkLst>
        </pc:grpChg>
        <pc:grpChg chg="add mod">
          <ac:chgData name="Divya Rank" userId="8a86f94f-bc51-45b1-baba-7f5d30607298" providerId="ADAL" clId="{12126C74-8380-4416-AB41-D42486FEE1A5}" dt="2025-06-13T12:57:32.429" v="1484" actId="1036"/>
          <ac:grpSpMkLst>
            <pc:docMk/>
            <pc:sldMk cId="2044274387" sldId="1374"/>
            <ac:grpSpMk id="9" creationId="{88EF41D9-9834-06DD-49ED-69D1EF73F939}"/>
          </ac:grpSpMkLst>
        </pc:grpChg>
      </pc:sldChg>
      <pc:sldChg chg="addSp delSp modSp mod">
        <pc:chgData name="Divya Rank" userId="8a86f94f-bc51-45b1-baba-7f5d30607298" providerId="ADAL" clId="{12126C74-8380-4416-AB41-D42486FEE1A5}" dt="2025-06-14T04:10:15.323" v="6022" actId="1036"/>
        <pc:sldMkLst>
          <pc:docMk/>
          <pc:sldMk cId="3897331874" sldId="1397"/>
        </pc:sldMkLst>
        <pc:spChg chg="mod">
          <ac:chgData name="Divya Rank" userId="8a86f94f-bc51-45b1-baba-7f5d30607298" providerId="ADAL" clId="{12126C74-8380-4416-AB41-D42486FEE1A5}" dt="2025-06-14T04:10:15.323" v="6022" actId="1036"/>
          <ac:spMkLst>
            <pc:docMk/>
            <pc:sldMk cId="3897331874" sldId="1397"/>
            <ac:spMk id="2" creationId="{3B8B9189-3176-BDC2-3AE9-727DE99AA123}"/>
          </ac:spMkLst>
        </pc:spChg>
        <pc:spChg chg="mod">
          <ac:chgData name="Divya Rank" userId="8a86f94f-bc51-45b1-baba-7f5d30607298" providerId="ADAL" clId="{12126C74-8380-4416-AB41-D42486FEE1A5}" dt="2025-06-13T14:31:28.631" v="4871" actId="1038"/>
          <ac:spMkLst>
            <pc:docMk/>
            <pc:sldMk cId="3897331874" sldId="1397"/>
            <ac:spMk id="23" creationId="{ED1BED20-588F-6A4A-B0F7-57F6D18AF83F}"/>
          </ac:spMkLst>
        </pc:spChg>
        <pc:spChg chg="mod">
          <ac:chgData name="Divya Rank" userId="8a86f94f-bc51-45b1-baba-7f5d30607298" providerId="ADAL" clId="{12126C74-8380-4416-AB41-D42486FEE1A5}" dt="2025-06-13T14:30:41.778" v="4865" actId="14100"/>
          <ac:spMkLst>
            <pc:docMk/>
            <pc:sldMk cId="3897331874" sldId="1397"/>
            <ac:spMk id="24" creationId="{073ACF5B-2539-2CF2-ABEB-AC48848E84F0}"/>
          </ac:spMkLst>
        </pc:spChg>
        <pc:spChg chg="mod">
          <ac:chgData name="Divya Rank" userId="8a86f94f-bc51-45b1-baba-7f5d30607298" providerId="ADAL" clId="{12126C74-8380-4416-AB41-D42486FEE1A5}" dt="2025-06-13T14:28:38.602" v="4827" actId="1076"/>
          <ac:spMkLst>
            <pc:docMk/>
            <pc:sldMk cId="3897331874" sldId="1397"/>
            <ac:spMk id="25" creationId="{262F376E-6F10-EBB8-72B2-D8FC58A01ED1}"/>
          </ac:spMkLst>
        </pc:spChg>
        <pc:spChg chg="mod">
          <ac:chgData name="Divya Rank" userId="8a86f94f-bc51-45b1-baba-7f5d30607298" providerId="ADAL" clId="{12126C74-8380-4416-AB41-D42486FEE1A5}" dt="2025-06-13T14:28:55.325" v="4828" actId="1076"/>
          <ac:spMkLst>
            <pc:docMk/>
            <pc:sldMk cId="3897331874" sldId="1397"/>
            <ac:spMk id="26" creationId="{2FF89EEC-8823-EA07-7D47-95901362FF07}"/>
          </ac:spMkLst>
        </pc:spChg>
        <pc:spChg chg="mod">
          <ac:chgData name="Divya Rank" userId="8a86f94f-bc51-45b1-baba-7f5d30607298" providerId="ADAL" clId="{12126C74-8380-4416-AB41-D42486FEE1A5}" dt="2025-06-13T14:27:45.460" v="4799" actId="1076"/>
          <ac:spMkLst>
            <pc:docMk/>
            <pc:sldMk cId="3897331874" sldId="1397"/>
            <ac:spMk id="27" creationId="{6098C4A4-BAA1-FA13-FAC4-B56D586F669E}"/>
          </ac:spMkLst>
        </pc:spChg>
        <pc:spChg chg="mod">
          <ac:chgData name="Divya Rank" userId="8a86f94f-bc51-45b1-baba-7f5d30607298" providerId="ADAL" clId="{12126C74-8380-4416-AB41-D42486FEE1A5}" dt="2025-06-13T14:28:12.134" v="4821" actId="1037"/>
          <ac:spMkLst>
            <pc:docMk/>
            <pc:sldMk cId="3897331874" sldId="1397"/>
            <ac:spMk id="29" creationId="{E31F6763-6D30-F42A-CA3F-35F0E81987D6}"/>
          </ac:spMkLst>
        </pc:spChg>
        <pc:spChg chg="mod">
          <ac:chgData name="Divya Rank" userId="8a86f94f-bc51-45b1-baba-7f5d30607298" providerId="ADAL" clId="{12126C74-8380-4416-AB41-D42486FEE1A5}" dt="2025-06-13T14:28:12.134" v="4821" actId="1037"/>
          <ac:spMkLst>
            <pc:docMk/>
            <pc:sldMk cId="3897331874" sldId="1397"/>
            <ac:spMk id="31" creationId="{0788A814-8C5F-5724-228D-93FCC5F131F1}"/>
          </ac:spMkLst>
        </pc:spChg>
        <pc:spChg chg="mod">
          <ac:chgData name="Divya Rank" userId="8a86f94f-bc51-45b1-baba-7f5d30607298" providerId="ADAL" clId="{12126C74-8380-4416-AB41-D42486FEE1A5}" dt="2025-06-13T14:28:12.134" v="4821" actId="1037"/>
          <ac:spMkLst>
            <pc:docMk/>
            <pc:sldMk cId="3897331874" sldId="1397"/>
            <ac:spMk id="33" creationId="{772B6F86-DA6C-443B-8455-1AFF802E9AD9}"/>
          </ac:spMkLst>
        </pc:spChg>
        <pc:spChg chg="mod">
          <ac:chgData name="Divya Rank" userId="8a86f94f-bc51-45b1-baba-7f5d30607298" providerId="ADAL" clId="{12126C74-8380-4416-AB41-D42486FEE1A5}" dt="2025-06-13T14:30:49.213" v="4867" actId="14100"/>
          <ac:spMkLst>
            <pc:docMk/>
            <pc:sldMk cId="3897331874" sldId="1397"/>
            <ac:spMk id="34" creationId="{172B3778-244C-359B-CAB8-00C6FF075555}"/>
          </ac:spMkLst>
        </pc:spChg>
        <pc:spChg chg="mod">
          <ac:chgData name="Divya Rank" userId="8a86f94f-bc51-45b1-baba-7f5d30607298" providerId="ADAL" clId="{12126C74-8380-4416-AB41-D42486FEE1A5}" dt="2025-06-13T14:30:18.469" v="4863" actId="1076"/>
          <ac:spMkLst>
            <pc:docMk/>
            <pc:sldMk cId="3897331874" sldId="1397"/>
            <ac:spMk id="35" creationId="{7C0E313E-2A46-9AD7-9470-2A7ED4C67F98}"/>
          </ac:spMkLst>
        </pc:spChg>
        <pc:spChg chg="mod">
          <ac:chgData name="Divya Rank" userId="8a86f94f-bc51-45b1-baba-7f5d30607298" providerId="ADAL" clId="{12126C74-8380-4416-AB41-D42486FEE1A5}" dt="2025-06-13T14:30:28.160" v="4864" actId="1076"/>
          <ac:spMkLst>
            <pc:docMk/>
            <pc:sldMk cId="3897331874" sldId="1397"/>
            <ac:spMk id="36" creationId="{1DA13420-61C9-8496-2EDD-BEE27C8653EC}"/>
          </ac:spMkLst>
        </pc:spChg>
        <pc:spChg chg="mod">
          <ac:chgData name="Divya Rank" userId="8a86f94f-bc51-45b1-baba-7f5d30607298" providerId="ADAL" clId="{12126C74-8380-4416-AB41-D42486FEE1A5}" dt="2025-06-13T14:29:53.756" v="4858" actId="1038"/>
          <ac:spMkLst>
            <pc:docMk/>
            <pc:sldMk cId="3897331874" sldId="1397"/>
            <ac:spMk id="39" creationId="{A830FF9E-4B50-1A3B-7637-9D1BB8C1955E}"/>
          </ac:spMkLst>
        </pc:spChg>
        <pc:spChg chg="mod">
          <ac:chgData name="Divya Rank" userId="8a86f94f-bc51-45b1-baba-7f5d30607298" providerId="ADAL" clId="{12126C74-8380-4416-AB41-D42486FEE1A5}" dt="2025-06-13T14:29:53.756" v="4858" actId="1038"/>
          <ac:spMkLst>
            <pc:docMk/>
            <pc:sldMk cId="3897331874" sldId="1397"/>
            <ac:spMk id="41" creationId="{1F23A45E-9BE2-F284-60A8-9E689B1820A9}"/>
          </ac:spMkLst>
        </pc:spChg>
        <pc:spChg chg="mod">
          <ac:chgData name="Divya Rank" userId="8a86f94f-bc51-45b1-baba-7f5d30607298" providerId="ADAL" clId="{12126C74-8380-4416-AB41-D42486FEE1A5}" dt="2025-06-13T14:29:53.756" v="4858" actId="1038"/>
          <ac:spMkLst>
            <pc:docMk/>
            <pc:sldMk cId="3897331874" sldId="1397"/>
            <ac:spMk id="43" creationId="{607167FC-F280-3E1E-7F62-38D02985FE3F}"/>
          </ac:spMkLst>
        </pc:spChg>
        <pc:grpChg chg="add mod">
          <ac:chgData name="Divya Rank" userId="8a86f94f-bc51-45b1-baba-7f5d30607298" providerId="ADAL" clId="{12126C74-8380-4416-AB41-D42486FEE1A5}" dt="2025-06-13T14:31:03.456" v="4869" actId="14100"/>
          <ac:grpSpMkLst>
            <pc:docMk/>
            <pc:sldMk cId="3897331874" sldId="1397"/>
            <ac:grpSpMk id="5" creationId="{C7D6073F-DBCA-C8A0-3584-489F6E935999}"/>
          </ac:grpSpMkLst>
        </pc:grpChg>
        <pc:grpChg chg="add mod">
          <ac:chgData name="Divya Rank" userId="8a86f94f-bc51-45b1-baba-7f5d30607298" providerId="ADAL" clId="{12126C74-8380-4416-AB41-D42486FEE1A5}" dt="2025-06-13T14:30:55.765" v="4868" actId="14100"/>
          <ac:grpSpMkLst>
            <pc:docMk/>
            <pc:sldMk cId="3897331874" sldId="1397"/>
            <ac:grpSpMk id="6" creationId="{2AE39B8E-4D2C-BCBF-C21A-A58589B60DE4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4:59:48.723" v="5031" actId="1036"/>
        <pc:sldMkLst>
          <pc:docMk/>
          <pc:sldMk cId="1126234879" sldId="1398"/>
        </pc:sldMkLst>
        <pc:spChg chg="mod">
          <ac:chgData name="Divya Rank" userId="8a86f94f-bc51-45b1-baba-7f5d30607298" providerId="ADAL" clId="{12126C74-8380-4416-AB41-D42486FEE1A5}" dt="2025-06-13T14:59:32.787" v="5022" actId="1038"/>
          <ac:spMkLst>
            <pc:docMk/>
            <pc:sldMk cId="1126234879" sldId="1398"/>
            <ac:spMk id="3" creationId="{97CE4107-28C5-08A2-F7D1-1EA8EF7AB929}"/>
          </ac:spMkLst>
        </pc:spChg>
        <pc:spChg chg="mod">
          <ac:chgData name="Divya Rank" userId="8a86f94f-bc51-45b1-baba-7f5d30607298" providerId="ADAL" clId="{12126C74-8380-4416-AB41-D42486FEE1A5}" dt="2025-06-13T14:58:35.157" v="4998" actId="403"/>
          <ac:spMkLst>
            <pc:docMk/>
            <pc:sldMk cId="1126234879" sldId="1398"/>
            <ac:spMk id="4" creationId="{E265B48E-5D61-85E2-AC24-3B81496F467A}"/>
          </ac:spMkLst>
        </pc:spChg>
        <pc:spChg chg="mod">
          <ac:chgData name="Divya Rank" userId="8a86f94f-bc51-45b1-baba-7f5d30607298" providerId="ADAL" clId="{12126C74-8380-4416-AB41-D42486FEE1A5}" dt="2025-06-13T14:58:45.625" v="5000" actId="14100"/>
          <ac:spMkLst>
            <pc:docMk/>
            <pc:sldMk cId="1126234879" sldId="1398"/>
            <ac:spMk id="6" creationId="{3ACB2792-DBCC-C358-E4AB-208DFE7983B6}"/>
          </ac:spMkLst>
        </pc:spChg>
        <pc:spChg chg="mod">
          <ac:chgData name="Divya Rank" userId="8a86f94f-bc51-45b1-baba-7f5d30607298" providerId="ADAL" clId="{12126C74-8380-4416-AB41-D42486FEE1A5}" dt="2025-06-13T14:58:56.033" v="5002" actId="14100"/>
          <ac:spMkLst>
            <pc:docMk/>
            <pc:sldMk cId="1126234879" sldId="1398"/>
            <ac:spMk id="7" creationId="{24B08863-7116-7809-2AD6-2E0CD5EDFAE5}"/>
          </ac:spMkLst>
        </pc:spChg>
        <pc:spChg chg="mod">
          <ac:chgData name="Divya Rank" userId="8a86f94f-bc51-45b1-baba-7f5d30607298" providerId="ADAL" clId="{12126C74-8380-4416-AB41-D42486FEE1A5}" dt="2025-06-13T14:59:16.579" v="5006" actId="14100"/>
          <ac:spMkLst>
            <pc:docMk/>
            <pc:sldMk cId="1126234879" sldId="1398"/>
            <ac:spMk id="9" creationId="{39FFD4B0-A394-061A-B963-CD764046BEEC}"/>
          </ac:spMkLst>
        </pc:spChg>
        <pc:spChg chg="mod">
          <ac:chgData name="Divya Rank" userId="8a86f94f-bc51-45b1-baba-7f5d30607298" providerId="ADAL" clId="{12126C74-8380-4416-AB41-D42486FEE1A5}" dt="2025-06-13T14:31:21.030" v="4870" actId="1037"/>
          <ac:spMkLst>
            <pc:docMk/>
            <pc:sldMk cId="1126234879" sldId="1398"/>
            <ac:spMk id="23" creationId="{635BBBE5-E9DA-CF0B-D91A-AF5DB45DE265}"/>
          </ac:spMkLst>
        </pc:spChg>
        <pc:grpChg chg="add">
          <ac:chgData name="Divya Rank" userId="8a86f94f-bc51-45b1-baba-7f5d30607298" providerId="ADAL" clId="{12126C74-8380-4416-AB41-D42486FEE1A5}" dt="2025-06-13T14:59:18.650" v="5007" actId="164"/>
          <ac:grpSpMkLst>
            <pc:docMk/>
            <pc:sldMk cId="1126234879" sldId="1398"/>
            <ac:grpSpMk id="5" creationId="{D415C464-2C35-35E0-837A-E1DC53D7AF02}"/>
          </ac:grpSpMkLst>
        </pc:grpChg>
        <pc:grpChg chg="add">
          <ac:chgData name="Divya Rank" userId="8a86f94f-bc51-45b1-baba-7f5d30607298" providerId="ADAL" clId="{12126C74-8380-4416-AB41-D42486FEE1A5}" dt="2025-06-13T14:59:20.967" v="5008" actId="164"/>
          <ac:grpSpMkLst>
            <pc:docMk/>
            <pc:sldMk cId="1126234879" sldId="1398"/>
            <ac:grpSpMk id="20" creationId="{E89A53C5-7AC0-84C1-4C73-ED1B45B25BBB}"/>
          </ac:grpSpMkLst>
        </pc:grpChg>
        <pc:grpChg chg="add">
          <ac:chgData name="Divya Rank" userId="8a86f94f-bc51-45b1-baba-7f5d30607298" providerId="ADAL" clId="{12126C74-8380-4416-AB41-D42486FEE1A5}" dt="2025-06-13T14:59:22.730" v="5009" actId="164"/>
          <ac:grpSpMkLst>
            <pc:docMk/>
            <pc:sldMk cId="1126234879" sldId="1398"/>
            <ac:grpSpMk id="21" creationId="{23D64707-E9CE-ADC6-71AF-B1CFF9BB86AF}"/>
          </ac:grpSpMkLst>
        </pc:grpChg>
        <pc:grpChg chg="add mod">
          <ac:chgData name="Divya Rank" userId="8a86f94f-bc51-45b1-baba-7f5d30607298" providerId="ADAL" clId="{12126C74-8380-4416-AB41-D42486FEE1A5}" dt="2025-06-13T14:59:48.723" v="5031" actId="1036"/>
          <ac:grpSpMkLst>
            <pc:docMk/>
            <pc:sldMk cId="1126234879" sldId="1398"/>
            <ac:grpSpMk id="22" creationId="{DE21FBB4-8316-814A-BB2D-FC7E4E5F6F7F}"/>
          </ac:grpSpMkLst>
        </pc:grpChg>
      </pc:sldChg>
      <pc:sldChg chg="delSp modSp mod">
        <pc:chgData name="Divya Rank" userId="8a86f94f-bc51-45b1-baba-7f5d30607298" providerId="ADAL" clId="{12126C74-8380-4416-AB41-D42486FEE1A5}" dt="2025-06-13T14:34:15.173" v="4950" actId="1076"/>
        <pc:sldMkLst>
          <pc:docMk/>
          <pc:sldMk cId="1609862685" sldId="1400"/>
        </pc:sldMkLst>
        <pc:spChg chg="mod">
          <ac:chgData name="Divya Rank" userId="8a86f94f-bc51-45b1-baba-7f5d30607298" providerId="ADAL" clId="{12126C74-8380-4416-AB41-D42486FEE1A5}" dt="2025-06-13T14:31:54.301" v="4888" actId="1035"/>
          <ac:spMkLst>
            <pc:docMk/>
            <pc:sldMk cId="1609862685" sldId="1400"/>
            <ac:spMk id="25" creationId="{32DB49DE-67E4-2B5E-3F94-3682BE482060}"/>
          </ac:spMkLst>
        </pc:spChg>
        <pc:spChg chg="mod">
          <ac:chgData name="Divya Rank" userId="8a86f94f-bc51-45b1-baba-7f5d30607298" providerId="ADAL" clId="{12126C74-8380-4416-AB41-D42486FEE1A5}" dt="2025-06-13T14:34:00.619" v="4948" actId="1076"/>
          <ac:spMkLst>
            <pc:docMk/>
            <pc:sldMk cId="1609862685" sldId="1400"/>
            <ac:spMk id="27" creationId="{733EC9CD-084D-BA3C-9137-52A058885EC2}"/>
          </ac:spMkLst>
        </pc:spChg>
        <pc:spChg chg="mod">
          <ac:chgData name="Divya Rank" userId="8a86f94f-bc51-45b1-baba-7f5d30607298" providerId="ADAL" clId="{12126C74-8380-4416-AB41-D42486FEE1A5}" dt="2025-06-13T14:34:10.897" v="4949" actId="1076"/>
          <ac:spMkLst>
            <pc:docMk/>
            <pc:sldMk cId="1609862685" sldId="1400"/>
            <ac:spMk id="29" creationId="{E2F49062-42F9-E540-1C2D-D3D8284255A3}"/>
          </ac:spMkLst>
        </pc:spChg>
        <pc:picChg chg="mod">
          <ac:chgData name="Divya Rank" userId="8a86f94f-bc51-45b1-baba-7f5d30607298" providerId="ADAL" clId="{12126C74-8380-4416-AB41-D42486FEE1A5}" dt="2025-06-13T14:34:15.173" v="4950" actId="1076"/>
          <ac:picMkLst>
            <pc:docMk/>
            <pc:sldMk cId="1609862685" sldId="1400"/>
            <ac:picMk id="6" creationId="{FA503CCE-F958-5D02-9EC6-AE2B36F34918}"/>
          </ac:picMkLst>
        </pc:picChg>
      </pc:sldChg>
      <pc:sldChg chg="addSp delSp modSp mod">
        <pc:chgData name="Divya Rank" userId="8a86f94f-bc51-45b1-baba-7f5d30607298" providerId="ADAL" clId="{12126C74-8380-4416-AB41-D42486FEE1A5}" dt="2025-06-13T15:13:18.879" v="5508" actId="1036"/>
        <pc:sldMkLst>
          <pc:docMk/>
          <pc:sldMk cId="1514397412" sldId="1401"/>
        </pc:sldMkLst>
        <pc:spChg chg="mod">
          <ac:chgData name="Divya Rank" userId="8a86f94f-bc51-45b1-baba-7f5d30607298" providerId="ADAL" clId="{12126C74-8380-4416-AB41-D42486FEE1A5}" dt="2025-06-13T15:06:27.490" v="5245" actId="1037"/>
          <ac:spMkLst>
            <pc:docMk/>
            <pc:sldMk cId="1514397412" sldId="1401"/>
            <ac:spMk id="3" creationId="{BA6D7975-E06E-B952-ED68-0C53082662F5}"/>
          </ac:spMkLst>
        </pc:spChg>
        <pc:spChg chg="mod">
          <ac:chgData name="Divya Rank" userId="8a86f94f-bc51-45b1-baba-7f5d30607298" providerId="ADAL" clId="{12126C74-8380-4416-AB41-D42486FEE1A5}" dt="2025-06-13T15:13:04.587" v="5481" actId="1038"/>
          <ac:spMkLst>
            <pc:docMk/>
            <pc:sldMk cId="1514397412" sldId="1401"/>
            <ac:spMk id="4" creationId="{3D4C7ECF-D3D1-069F-B2E5-6B2BFFC3504E}"/>
          </ac:spMkLst>
        </pc:spChg>
        <pc:spChg chg="mod">
          <ac:chgData name="Divya Rank" userId="8a86f94f-bc51-45b1-baba-7f5d30607298" providerId="ADAL" clId="{12126C74-8380-4416-AB41-D42486FEE1A5}" dt="2025-06-13T15:12:18.507" v="5467" actId="122"/>
          <ac:spMkLst>
            <pc:docMk/>
            <pc:sldMk cId="1514397412" sldId="1401"/>
            <ac:spMk id="6" creationId="{3A05A312-B941-5067-F79C-A1528CBE2BEE}"/>
          </ac:spMkLst>
        </pc:spChg>
        <pc:spChg chg="mod">
          <ac:chgData name="Divya Rank" userId="8a86f94f-bc51-45b1-baba-7f5d30607298" providerId="ADAL" clId="{12126C74-8380-4416-AB41-D42486FEE1A5}" dt="2025-06-13T15:12:29.311" v="5469" actId="404"/>
          <ac:spMkLst>
            <pc:docMk/>
            <pc:sldMk cId="1514397412" sldId="1401"/>
            <ac:spMk id="7" creationId="{6184B2C6-26FA-D4D7-555C-21D394ABC1ED}"/>
          </ac:spMkLst>
        </pc:spChg>
        <pc:spChg chg="mod">
          <ac:chgData name="Divya Rank" userId="8a86f94f-bc51-45b1-baba-7f5d30607298" providerId="ADAL" clId="{12126C74-8380-4416-AB41-D42486FEE1A5}" dt="2025-06-13T15:05:17.503" v="5190" actId="14100"/>
          <ac:spMkLst>
            <pc:docMk/>
            <pc:sldMk cId="1514397412" sldId="1401"/>
            <ac:spMk id="8" creationId="{770C1EFD-8681-1D50-C597-082E171F8959}"/>
          </ac:spMkLst>
        </pc:spChg>
        <pc:spChg chg="mod">
          <ac:chgData name="Divya Rank" userId="8a86f94f-bc51-45b1-baba-7f5d30607298" providerId="ADAL" clId="{12126C74-8380-4416-AB41-D42486FEE1A5}" dt="2025-06-13T15:12:45.617" v="5471" actId="404"/>
          <ac:spMkLst>
            <pc:docMk/>
            <pc:sldMk cId="1514397412" sldId="1401"/>
            <ac:spMk id="9" creationId="{D696AA28-4218-DC57-4C99-F8911B8372C5}"/>
          </ac:spMkLst>
        </pc:spChg>
        <pc:spChg chg="mod">
          <ac:chgData name="Divya Rank" userId="8a86f94f-bc51-45b1-baba-7f5d30607298" providerId="ADAL" clId="{12126C74-8380-4416-AB41-D42486FEE1A5}" dt="2025-06-13T15:05:23.824" v="5191" actId="14100"/>
          <ac:spMkLst>
            <pc:docMk/>
            <pc:sldMk cId="1514397412" sldId="1401"/>
            <ac:spMk id="11" creationId="{04D03ABC-F0B9-50D5-D302-8226963A5085}"/>
          </ac:spMkLst>
        </pc:spChg>
        <pc:spChg chg="mod">
          <ac:chgData name="Divya Rank" userId="8a86f94f-bc51-45b1-baba-7f5d30607298" providerId="ADAL" clId="{12126C74-8380-4416-AB41-D42486FEE1A5}" dt="2025-06-13T15:13:04.587" v="5481" actId="1038"/>
          <ac:spMkLst>
            <pc:docMk/>
            <pc:sldMk cId="1514397412" sldId="1401"/>
            <ac:spMk id="16" creationId="{48225623-D3B3-E13B-AF60-F2600A2EA41E}"/>
          </ac:spMkLst>
        </pc:spChg>
        <pc:spChg chg="mod">
          <ac:chgData name="Divya Rank" userId="8a86f94f-bc51-45b1-baba-7f5d30607298" providerId="ADAL" clId="{12126C74-8380-4416-AB41-D42486FEE1A5}" dt="2025-06-13T15:12:18.507" v="5467" actId="122"/>
          <ac:spMkLst>
            <pc:docMk/>
            <pc:sldMk cId="1514397412" sldId="1401"/>
            <ac:spMk id="17" creationId="{4453A128-744C-AEDD-170A-56E40C6DDF91}"/>
          </ac:spMkLst>
        </pc:spChg>
        <pc:spChg chg="mod">
          <ac:chgData name="Divya Rank" userId="8a86f94f-bc51-45b1-baba-7f5d30607298" providerId="ADAL" clId="{12126C74-8380-4416-AB41-D42486FEE1A5}" dt="2025-06-13T15:12:29.311" v="5469" actId="404"/>
          <ac:spMkLst>
            <pc:docMk/>
            <pc:sldMk cId="1514397412" sldId="1401"/>
            <ac:spMk id="18" creationId="{7D329FBE-361C-0D1A-7E5B-4BE0511C6C4D}"/>
          </ac:spMkLst>
        </pc:spChg>
        <pc:spChg chg="mod">
          <ac:chgData name="Divya Rank" userId="8a86f94f-bc51-45b1-baba-7f5d30607298" providerId="ADAL" clId="{12126C74-8380-4416-AB41-D42486FEE1A5}" dt="2025-06-13T15:05:10.267" v="5189" actId="14100"/>
          <ac:spMkLst>
            <pc:docMk/>
            <pc:sldMk cId="1514397412" sldId="1401"/>
            <ac:spMk id="19" creationId="{9D13222B-527F-983F-0D58-3B8765989D55}"/>
          </ac:spMkLst>
        </pc:spChg>
        <pc:spChg chg="mod">
          <ac:chgData name="Divya Rank" userId="8a86f94f-bc51-45b1-baba-7f5d30607298" providerId="ADAL" clId="{12126C74-8380-4416-AB41-D42486FEE1A5}" dt="2025-06-13T15:12:45.617" v="5471" actId="404"/>
          <ac:spMkLst>
            <pc:docMk/>
            <pc:sldMk cId="1514397412" sldId="1401"/>
            <ac:spMk id="20" creationId="{17EA191E-7FF9-AB90-5A15-C4D9188264F2}"/>
          </ac:spMkLst>
        </pc:spChg>
        <pc:spChg chg="mod">
          <ac:chgData name="Divya Rank" userId="8a86f94f-bc51-45b1-baba-7f5d30607298" providerId="ADAL" clId="{12126C74-8380-4416-AB41-D42486FEE1A5}" dt="2025-06-13T15:05:40.209" v="5225" actId="14100"/>
          <ac:spMkLst>
            <pc:docMk/>
            <pc:sldMk cId="1514397412" sldId="1401"/>
            <ac:spMk id="22" creationId="{99331468-730A-2E0F-1ECC-21C086B38101}"/>
          </ac:spMkLst>
        </pc:spChg>
        <pc:grpChg chg="add mod">
          <ac:chgData name="Divya Rank" userId="8a86f94f-bc51-45b1-baba-7f5d30607298" providerId="ADAL" clId="{12126C74-8380-4416-AB41-D42486FEE1A5}" dt="2025-06-13T15:13:18.879" v="5508" actId="1036"/>
          <ac:grpSpMkLst>
            <pc:docMk/>
            <pc:sldMk cId="1514397412" sldId="1401"/>
            <ac:grpSpMk id="5" creationId="{B67F0A02-0D1D-DD73-5D39-03091F2559A6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5:11:42.569" v="5466" actId="164"/>
        <pc:sldMkLst>
          <pc:docMk/>
          <pc:sldMk cId="2910876098" sldId="1402"/>
        </pc:sldMkLst>
        <pc:spChg chg="add mod">
          <ac:chgData name="Divya Rank" userId="8a86f94f-bc51-45b1-baba-7f5d30607298" providerId="ADAL" clId="{12126C74-8380-4416-AB41-D42486FEE1A5}" dt="2025-06-13T15:11:36.416" v="5464"/>
          <ac:spMkLst>
            <pc:docMk/>
            <pc:sldMk cId="2910876098" sldId="1402"/>
            <ac:spMk id="11" creationId="{8A2FE1F7-FA36-4A58-590D-9C6F81E42C9C}"/>
          </ac:spMkLst>
        </pc:spChg>
        <pc:spChg chg="add mod">
          <ac:chgData name="Divya Rank" userId="8a86f94f-bc51-45b1-baba-7f5d30607298" providerId="ADAL" clId="{12126C74-8380-4416-AB41-D42486FEE1A5}" dt="2025-06-13T15:11:36.416" v="5464"/>
          <ac:spMkLst>
            <pc:docMk/>
            <pc:sldMk cId="2910876098" sldId="1402"/>
            <ac:spMk id="12" creationId="{C733B4E9-A2D8-E8DE-D941-184D466B2C9C}"/>
          </ac:spMkLst>
        </pc:spChg>
        <pc:spChg chg="add mod">
          <ac:chgData name="Divya Rank" userId="8a86f94f-bc51-45b1-baba-7f5d30607298" providerId="ADAL" clId="{12126C74-8380-4416-AB41-D42486FEE1A5}" dt="2025-06-13T15:11:36.416" v="5464"/>
          <ac:spMkLst>
            <pc:docMk/>
            <pc:sldMk cId="2910876098" sldId="1402"/>
            <ac:spMk id="13" creationId="{2C34302D-0EBE-713E-5BBF-C4F69E30B69C}"/>
          </ac:spMkLst>
        </pc:spChg>
        <pc:spChg chg="add mod">
          <ac:chgData name="Divya Rank" userId="8a86f94f-bc51-45b1-baba-7f5d30607298" providerId="ADAL" clId="{12126C74-8380-4416-AB41-D42486FEE1A5}" dt="2025-06-13T15:11:36.416" v="5464"/>
          <ac:spMkLst>
            <pc:docMk/>
            <pc:sldMk cId="2910876098" sldId="1402"/>
            <ac:spMk id="14" creationId="{D33F2FEA-63B6-6398-4804-F1B76ED7F63E}"/>
          </ac:spMkLst>
        </pc:spChg>
        <pc:spChg chg="mod ord topLvl">
          <ac:chgData name="Divya Rank" userId="8a86f94f-bc51-45b1-baba-7f5d30607298" providerId="ADAL" clId="{12126C74-8380-4416-AB41-D42486FEE1A5}" dt="2025-06-13T15:10:41.570" v="5455" actId="167"/>
          <ac:spMkLst>
            <pc:docMk/>
            <pc:sldMk cId="2910876098" sldId="1402"/>
            <ac:spMk id="24" creationId="{BA3150A2-EDD0-102A-AC0B-FE7FF740332F}"/>
          </ac:spMkLst>
        </pc:spChg>
        <pc:spChg chg="mod topLvl">
          <ac:chgData name="Divya Rank" userId="8a86f94f-bc51-45b1-baba-7f5d30607298" providerId="ADAL" clId="{12126C74-8380-4416-AB41-D42486FEE1A5}" dt="2025-06-13T15:10:07.333" v="5444" actId="164"/>
          <ac:spMkLst>
            <pc:docMk/>
            <pc:sldMk cId="2910876098" sldId="1402"/>
            <ac:spMk id="25" creationId="{59421FCD-6A80-818C-F858-2A661D4118E4}"/>
          </ac:spMkLst>
        </pc:spChg>
        <pc:spChg chg="mod topLvl">
          <ac:chgData name="Divya Rank" userId="8a86f94f-bc51-45b1-baba-7f5d30607298" providerId="ADAL" clId="{12126C74-8380-4416-AB41-D42486FEE1A5}" dt="2025-06-13T15:10:32.984" v="5454" actId="1076"/>
          <ac:spMkLst>
            <pc:docMk/>
            <pc:sldMk cId="2910876098" sldId="1402"/>
            <ac:spMk id="26" creationId="{4BA73D4B-52CB-6D6E-B4B4-228065C1637D}"/>
          </ac:spMkLst>
        </pc:spChg>
        <pc:spChg chg="mod ord">
          <ac:chgData name="Divya Rank" userId="8a86f94f-bc51-45b1-baba-7f5d30607298" providerId="ADAL" clId="{12126C74-8380-4416-AB41-D42486FEE1A5}" dt="2025-06-13T15:11:22.988" v="5461" actId="167"/>
          <ac:spMkLst>
            <pc:docMk/>
            <pc:sldMk cId="2910876098" sldId="1402"/>
            <ac:spMk id="27" creationId="{0ED27D50-DC7A-FF9F-DFAF-DB282255223F}"/>
          </ac:spMkLst>
        </pc:spChg>
        <pc:spChg chg="mod">
          <ac:chgData name="Divya Rank" userId="8a86f94f-bc51-45b1-baba-7f5d30607298" providerId="ADAL" clId="{12126C74-8380-4416-AB41-D42486FEE1A5}" dt="2025-06-13T15:06:20.251" v="5242" actId="1035"/>
          <ac:spMkLst>
            <pc:docMk/>
            <pc:sldMk cId="2910876098" sldId="1402"/>
            <ac:spMk id="52" creationId="{D88C12B6-19E3-B9F7-C6AC-68B518676271}"/>
          </ac:spMkLst>
        </pc:spChg>
        <pc:grpChg chg="add ord">
          <ac:chgData name="Divya Rank" userId="8a86f94f-bc51-45b1-baba-7f5d30607298" providerId="ADAL" clId="{12126C74-8380-4416-AB41-D42486FEE1A5}" dt="2025-06-13T15:11:35.509" v="5463" actId="167"/>
          <ac:grpSpMkLst>
            <pc:docMk/>
            <pc:sldMk cId="2910876098" sldId="1402"/>
            <ac:grpSpMk id="10" creationId="{91E77D85-0C5E-0297-3053-1FCE762B1E0A}"/>
          </ac:grpSpMkLst>
        </pc:grpChg>
        <pc:grpChg chg="add">
          <ac:chgData name="Divya Rank" userId="8a86f94f-bc51-45b1-baba-7f5d30607298" providerId="ADAL" clId="{12126C74-8380-4416-AB41-D42486FEE1A5}" dt="2025-06-13T15:11:40.596" v="5465" actId="164"/>
          <ac:grpSpMkLst>
            <pc:docMk/>
            <pc:sldMk cId="2910876098" sldId="1402"/>
            <ac:grpSpMk id="15" creationId="{D5CA0350-05AC-0ACB-5825-89C4C0EBD9D6}"/>
          </ac:grpSpMkLst>
        </pc:grpChg>
        <pc:grpChg chg="add">
          <ac:chgData name="Divya Rank" userId="8a86f94f-bc51-45b1-baba-7f5d30607298" providerId="ADAL" clId="{12126C74-8380-4416-AB41-D42486FEE1A5}" dt="2025-06-13T15:11:42.569" v="5466" actId="164"/>
          <ac:grpSpMkLst>
            <pc:docMk/>
            <pc:sldMk cId="2910876098" sldId="1402"/>
            <ac:grpSpMk id="16" creationId="{AC364D53-C072-98C4-0021-32C6560919F1}"/>
          </ac:grpSpMkLst>
        </pc:grpChg>
      </pc:sldChg>
      <pc:sldChg chg="delSp modSp mod">
        <pc:chgData name="Divya Rank" userId="8a86f94f-bc51-45b1-baba-7f5d30607298" providerId="ADAL" clId="{12126C74-8380-4416-AB41-D42486FEE1A5}" dt="2025-06-14T04:10:26.933" v="6023" actId="1036"/>
        <pc:sldMkLst>
          <pc:docMk/>
          <pc:sldMk cId="1359705919" sldId="1404"/>
        </pc:sldMkLst>
        <pc:spChg chg="mod">
          <ac:chgData name="Divya Rank" userId="8a86f94f-bc51-45b1-baba-7f5d30607298" providerId="ADAL" clId="{12126C74-8380-4416-AB41-D42486FEE1A5}" dt="2025-06-14T04:10:26.933" v="6023" actId="1036"/>
          <ac:spMkLst>
            <pc:docMk/>
            <pc:sldMk cId="1359705919" sldId="1404"/>
            <ac:spMk id="2" creationId="{DB440015-968F-8907-C2C5-45283DCE0EDB}"/>
          </ac:spMkLst>
        </pc:spChg>
        <pc:spChg chg="mod">
          <ac:chgData name="Divya Rank" userId="8a86f94f-bc51-45b1-baba-7f5d30607298" providerId="ADAL" clId="{12126C74-8380-4416-AB41-D42486FEE1A5}" dt="2025-06-13T15:17:55.569" v="5678" actId="1037"/>
          <ac:spMkLst>
            <pc:docMk/>
            <pc:sldMk cId="1359705919" sldId="1404"/>
            <ac:spMk id="3" creationId="{E773CE22-F5C5-BC43-9DB0-6EF7DCE6362C}"/>
          </ac:spMkLst>
        </pc:spChg>
        <pc:spChg chg="mod">
          <ac:chgData name="Divya Rank" userId="8a86f94f-bc51-45b1-baba-7f5d30607298" providerId="ADAL" clId="{12126C74-8380-4416-AB41-D42486FEE1A5}" dt="2025-06-13T15:18:27.750" v="5693" actId="1036"/>
          <ac:spMkLst>
            <pc:docMk/>
            <pc:sldMk cId="1359705919" sldId="1404"/>
            <ac:spMk id="45" creationId="{05D38DF9-9FD4-002B-37FA-EB8C95C3F79D}"/>
          </ac:spMkLst>
        </pc:spChg>
        <pc:picChg chg="mod">
          <ac:chgData name="Divya Rank" userId="8a86f94f-bc51-45b1-baba-7f5d30607298" providerId="ADAL" clId="{12126C74-8380-4416-AB41-D42486FEE1A5}" dt="2025-06-13T15:18:04.528" v="5682" actId="1076"/>
          <ac:picMkLst>
            <pc:docMk/>
            <pc:sldMk cId="1359705919" sldId="1404"/>
            <ac:picMk id="5" creationId="{39CF3514-489E-A450-A033-F6092F5BBF9D}"/>
          </ac:picMkLst>
        </pc:picChg>
      </pc:sldChg>
      <pc:sldChg chg="modSp mod">
        <pc:chgData name="Divya Rank" userId="8a86f94f-bc51-45b1-baba-7f5d30607298" providerId="ADAL" clId="{12126C74-8380-4416-AB41-D42486FEE1A5}" dt="2025-06-13T13:56:02.395" v="3913" actId="1038"/>
        <pc:sldMkLst>
          <pc:docMk/>
          <pc:sldMk cId="1618323921" sldId="1405"/>
        </pc:sldMkLst>
        <pc:spChg chg="mod">
          <ac:chgData name="Divya Rank" userId="8a86f94f-bc51-45b1-baba-7f5d30607298" providerId="ADAL" clId="{12126C74-8380-4416-AB41-D42486FEE1A5}" dt="2025-06-13T13:55:31.066" v="3907" actId="20577"/>
          <ac:spMkLst>
            <pc:docMk/>
            <pc:sldMk cId="1618323921" sldId="1405"/>
            <ac:spMk id="2" creationId="{F24936F1-EC21-3F58-1A5D-707883051E55}"/>
          </ac:spMkLst>
        </pc:spChg>
        <pc:spChg chg="mod">
          <ac:chgData name="Divya Rank" userId="8a86f94f-bc51-45b1-baba-7f5d30607298" providerId="ADAL" clId="{12126C74-8380-4416-AB41-D42486FEE1A5}" dt="2025-06-13T13:54:55.014" v="3864" actId="1036"/>
          <ac:spMkLst>
            <pc:docMk/>
            <pc:sldMk cId="1618323921" sldId="1405"/>
            <ac:spMk id="5" creationId="{EF7A91A4-47BA-4308-97A4-B86B9024DFAE}"/>
          </ac:spMkLst>
        </pc:spChg>
        <pc:spChg chg="mod">
          <ac:chgData name="Divya Rank" userId="8a86f94f-bc51-45b1-baba-7f5d30607298" providerId="ADAL" clId="{12126C74-8380-4416-AB41-D42486FEE1A5}" dt="2025-06-13T13:55:37.192" v="3908" actId="14100"/>
          <ac:spMkLst>
            <pc:docMk/>
            <pc:sldMk cId="1618323921" sldId="1405"/>
            <ac:spMk id="24" creationId="{06F22B71-75AE-A860-5B6E-69C475E23492}"/>
          </ac:spMkLst>
        </pc:spChg>
        <pc:spChg chg="mod">
          <ac:chgData name="Divya Rank" userId="8a86f94f-bc51-45b1-baba-7f5d30607298" providerId="ADAL" clId="{12126C74-8380-4416-AB41-D42486FEE1A5}" dt="2025-06-13T13:56:02.395" v="3913" actId="1038"/>
          <ac:spMkLst>
            <pc:docMk/>
            <pc:sldMk cId="1618323921" sldId="1405"/>
            <ac:spMk id="29" creationId="{674D0205-C4C4-351A-8626-B413C6504BFD}"/>
          </ac:spMkLst>
        </pc:spChg>
        <pc:spChg chg="mod">
          <ac:chgData name="Divya Rank" userId="8a86f94f-bc51-45b1-baba-7f5d30607298" providerId="ADAL" clId="{12126C74-8380-4416-AB41-D42486FEE1A5}" dt="2025-06-13T13:56:02.395" v="3913" actId="1038"/>
          <ac:spMkLst>
            <pc:docMk/>
            <pc:sldMk cId="1618323921" sldId="1405"/>
            <ac:spMk id="32" creationId="{9E6A3CDD-7A58-E693-C0E5-456532F633A5}"/>
          </ac:spMkLst>
        </pc:spChg>
        <pc:spChg chg="mod">
          <ac:chgData name="Divya Rank" userId="8a86f94f-bc51-45b1-baba-7f5d30607298" providerId="ADAL" clId="{12126C74-8380-4416-AB41-D42486FEE1A5}" dt="2025-06-13T13:56:02.395" v="3913" actId="1038"/>
          <ac:spMkLst>
            <pc:docMk/>
            <pc:sldMk cId="1618323921" sldId="1405"/>
            <ac:spMk id="35" creationId="{30DE7914-A4BC-FF30-EF2D-E04572182810}"/>
          </ac:spMkLst>
        </pc:spChg>
        <pc:spChg chg="mod">
          <ac:chgData name="Divya Rank" userId="8a86f94f-bc51-45b1-baba-7f5d30607298" providerId="ADAL" clId="{12126C74-8380-4416-AB41-D42486FEE1A5}" dt="2025-06-13T13:55:37.192" v="3908" actId="14100"/>
          <ac:spMkLst>
            <pc:docMk/>
            <pc:sldMk cId="1618323921" sldId="1405"/>
            <ac:spMk id="46" creationId="{F318A3A0-77E2-C509-3550-36B84968A26E}"/>
          </ac:spMkLst>
        </pc:spChg>
      </pc:sldChg>
      <pc:sldChg chg="modSp mod">
        <pc:chgData name="Divya Rank" userId="8a86f94f-bc51-45b1-baba-7f5d30607298" providerId="ADAL" clId="{12126C74-8380-4416-AB41-D42486FEE1A5}" dt="2025-06-13T13:56:55.473" v="3947" actId="1037"/>
        <pc:sldMkLst>
          <pc:docMk/>
          <pc:sldMk cId="767093200" sldId="1406"/>
        </pc:sldMkLst>
        <pc:spChg chg="mod">
          <ac:chgData name="Divya Rank" userId="8a86f94f-bc51-45b1-baba-7f5d30607298" providerId="ADAL" clId="{12126C74-8380-4416-AB41-D42486FEE1A5}" dt="2025-06-13T13:54:47.651" v="3857" actId="1036"/>
          <ac:spMkLst>
            <pc:docMk/>
            <pc:sldMk cId="767093200" sldId="1406"/>
            <ac:spMk id="2" creationId="{DCC6F8AA-515A-0107-2587-3680FE510DA2}"/>
          </ac:spMkLst>
        </pc:spChg>
        <pc:spChg chg="mod">
          <ac:chgData name="Divya Rank" userId="8a86f94f-bc51-45b1-baba-7f5d30607298" providerId="ADAL" clId="{12126C74-8380-4416-AB41-D42486FEE1A5}" dt="2025-06-13T13:55:45.162" v="3909" actId="14100"/>
          <ac:spMkLst>
            <pc:docMk/>
            <pc:sldMk cId="767093200" sldId="1406"/>
            <ac:spMk id="3" creationId="{76BFB7DC-8B74-47AD-0063-FC6A7F5FBF89}"/>
          </ac:spMkLst>
        </pc:spChg>
        <pc:spChg chg="mod">
          <ac:chgData name="Divya Rank" userId="8a86f94f-bc51-45b1-baba-7f5d30607298" providerId="ADAL" clId="{12126C74-8380-4416-AB41-D42486FEE1A5}" dt="2025-06-13T13:54:34.382" v="3840" actId="1035"/>
          <ac:spMkLst>
            <pc:docMk/>
            <pc:sldMk cId="767093200" sldId="1406"/>
            <ac:spMk id="6" creationId="{EDBA6B79-16F7-1D80-6293-0AB36935FFA6}"/>
          </ac:spMkLst>
        </pc:spChg>
        <pc:spChg chg="mod">
          <ac:chgData name="Divya Rank" userId="8a86f94f-bc51-45b1-baba-7f5d30607298" providerId="ADAL" clId="{12126C74-8380-4416-AB41-D42486FEE1A5}" dt="2025-06-13T13:56:55.473" v="3947" actId="1037"/>
          <ac:spMkLst>
            <pc:docMk/>
            <pc:sldMk cId="767093200" sldId="1406"/>
            <ac:spMk id="10" creationId="{18B2C4D6-10A8-8CBA-0668-24A72CF8A4EA}"/>
          </ac:spMkLst>
        </pc:spChg>
        <pc:spChg chg="mod">
          <ac:chgData name="Divya Rank" userId="8a86f94f-bc51-45b1-baba-7f5d30607298" providerId="ADAL" clId="{12126C74-8380-4416-AB41-D42486FEE1A5}" dt="2025-06-13T13:56:55.473" v="3947" actId="1037"/>
          <ac:spMkLst>
            <pc:docMk/>
            <pc:sldMk cId="767093200" sldId="1406"/>
            <ac:spMk id="13" creationId="{54256C06-76AB-99DB-23C8-1673B56A1B13}"/>
          </ac:spMkLst>
        </pc:spChg>
        <pc:spChg chg="mod">
          <ac:chgData name="Divya Rank" userId="8a86f94f-bc51-45b1-baba-7f5d30607298" providerId="ADAL" clId="{12126C74-8380-4416-AB41-D42486FEE1A5}" dt="2025-06-13T13:56:55.473" v="3947" actId="1037"/>
          <ac:spMkLst>
            <pc:docMk/>
            <pc:sldMk cId="767093200" sldId="1406"/>
            <ac:spMk id="16" creationId="{2B68722F-8ECC-B75F-9B8D-8C7702B6FECC}"/>
          </ac:spMkLst>
        </pc:spChg>
        <pc:spChg chg="mod">
          <ac:chgData name="Divya Rank" userId="8a86f94f-bc51-45b1-baba-7f5d30607298" providerId="ADAL" clId="{12126C74-8380-4416-AB41-D42486FEE1A5}" dt="2025-06-13T13:55:45.162" v="3909" actId="14100"/>
          <ac:spMkLst>
            <pc:docMk/>
            <pc:sldMk cId="767093200" sldId="1406"/>
            <ac:spMk id="18" creationId="{BC482D51-05BA-44EA-648D-7CA7578882B7}"/>
          </ac:spMkLst>
        </pc:spChg>
      </pc:sldChg>
      <pc:sldChg chg="modSp mod">
        <pc:chgData name="Divya Rank" userId="8a86f94f-bc51-45b1-baba-7f5d30607298" providerId="ADAL" clId="{12126C74-8380-4416-AB41-D42486FEE1A5}" dt="2025-06-13T13:57:10.412" v="3965" actId="1037"/>
        <pc:sldMkLst>
          <pc:docMk/>
          <pc:sldMk cId="4031355153" sldId="1407"/>
        </pc:sldMkLst>
        <pc:spChg chg="mod">
          <ac:chgData name="Divya Rank" userId="8a86f94f-bc51-45b1-baba-7f5d30607298" providerId="ADAL" clId="{12126C74-8380-4416-AB41-D42486FEE1A5}" dt="2025-06-13T13:55:04.872" v="3895" actId="1035"/>
          <ac:spMkLst>
            <pc:docMk/>
            <pc:sldMk cId="4031355153" sldId="1407"/>
            <ac:spMk id="2" creationId="{401E0793-1959-FBD3-0004-B39291841520}"/>
          </ac:spMkLst>
        </pc:spChg>
        <pc:spChg chg="mod">
          <ac:chgData name="Divya Rank" userId="8a86f94f-bc51-45b1-baba-7f5d30607298" providerId="ADAL" clId="{12126C74-8380-4416-AB41-D42486FEE1A5}" dt="2025-06-13T13:55:10.834" v="3903" actId="1036"/>
          <ac:spMkLst>
            <pc:docMk/>
            <pc:sldMk cId="4031355153" sldId="1407"/>
            <ac:spMk id="5" creationId="{41FE98D1-7146-1740-7833-1570FEEA1C49}"/>
          </ac:spMkLst>
        </pc:spChg>
        <pc:spChg chg="mod">
          <ac:chgData name="Divya Rank" userId="8a86f94f-bc51-45b1-baba-7f5d30607298" providerId="ADAL" clId="{12126C74-8380-4416-AB41-D42486FEE1A5}" dt="2025-06-13T13:55:25.891" v="3904" actId="14100"/>
          <ac:spMkLst>
            <pc:docMk/>
            <pc:sldMk cId="4031355153" sldId="1407"/>
            <ac:spMk id="7" creationId="{C9270055-A479-BB12-C076-3ED1775D8CE6}"/>
          </ac:spMkLst>
        </pc:spChg>
        <pc:spChg chg="mod">
          <ac:chgData name="Divya Rank" userId="8a86f94f-bc51-45b1-baba-7f5d30607298" providerId="ADAL" clId="{12126C74-8380-4416-AB41-D42486FEE1A5}" dt="2025-06-13T13:57:10.412" v="3965" actId="1037"/>
          <ac:spMkLst>
            <pc:docMk/>
            <pc:sldMk cId="4031355153" sldId="1407"/>
            <ac:spMk id="12" creationId="{54C38008-8C8C-5EF6-FF4E-60CCB59844AE}"/>
          </ac:spMkLst>
        </pc:spChg>
        <pc:spChg chg="mod">
          <ac:chgData name="Divya Rank" userId="8a86f94f-bc51-45b1-baba-7f5d30607298" providerId="ADAL" clId="{12126C74-8380-4416-AB41-D42486FEE1A5}" dt="2025-06-13T13:57:10.412" v="3965" actId="1037"/>
          <ac:spMkLst>
            <pc:docMk/>
            <pc:sldMk cId="4031355153" sldId="1407"/>
            <ac:spMk id="15" creationId="{88CC4477-9CB7-1C86-A317-A794A031ABA5}"/>
          </ac:spMkLst>
        </pc:spChg>
        <pc:spChg chg="mod">
          <ac:chgData name="Divya Rank" userId="8a86f94f-bc51-45b1-baba-7f5d30607298" providerId="ADAL" clId="{12126C74-8380-4416-AB41-D42486FEE1A5}" dt="2025-06-13T13:57:10.412" v="3965" actId="1037"/>
          <ac:spMkLst>
            <pc:docMk/>
            <pc:sldMk cId="4031355153" sldId="1407"/>
            <ac:spMk id="18" creationId="{491F3F00-3CA3-2B04-F333-F8D165F26D49}"/>
          </ac:spMkLst>
        </pc:spChg>
        <pc:spChg chg="mod">
          <ac:chgData name="Divya Rank" userId="8a86f94f-bc51-45b1-baba-7f5d30607298" providerId="ADAL" clId="{12126C74-8380-4416-AB41-D42486FEE1A5}" dt="2025-06-13T13:55:25.891" v="3904" actId="14100"/>
          <ac:spMkLst>
            <pc:docMk/>
            <pc:sldMk cId="4031355153" sldId="1407"/>
            <ac:spMk id="20" creationId="{F45FCD83-CC0A-8728-30B8-D03960CA54F7}"/>
          </ac:spMkLst>
        </pc:spChg>
        <pc:spChg chg="mod">
          <ac:chgData name="Divya Rank" userId="8a86f94f-bc51-45b1-baba-7f5d30607298" providerId="ADAL" clId="{12126C74-8380-4416-AB41-D42486FEE1A5}" dt="2025-06-13T13:56:49.569" v="3943" actId="1037"/>
          <ac:spMkLst>
            <pc:docMk/>
            <pc:sldMk cId="4031355153" sldId="1407"/>
            <ac:spMk id="37" creationId="{B451DFBC-6207-521D-A637-3B67B8E1A499}"/>
          </ac:spMkLst>
        </pc:spChg>
        <pc:spChg chg="mod">
          <ac:chgData name="Divya Rank" userId="8a86f94f-bc51-45b1-baba-7f5d30607298" providerId="ADAL" clId="{12126C74-8380-4416-AB41-D42486FEE1A5}" dt="2025-06-13T13:56:49.569" v="3943" actId="1037"/>
          <ac:spMkLst>
            <pc:docMk/>
            <pc:sldMk cId="4031355153" sldId="1407"/>
            <ac:spMk id="40" creationId="{1C121322-5260-23E9-A456-FFD42133322D}"/>
          </ac:spMkLst>
        </pc:spChg>
        <pc:spChg chg="mod">
          <ac:chgData name="Divya Rank" userId="8a86f94f-bc51-45b1-baba-7f5d30607298" providerId="ADAL" clId="{12126C74-8380-4416-AB41-D42486FEE1A5}" dt="2025-06-13T13:56:49.569" v="3943" actId="1037"/>
          <ac:spMkLst>
            <pc:docMk/>
            <pc:sldMk cId="4031355153" sldId="1407"/>
            <ac:spMk id="43" creationId="{D81E1F52-81C4-0FA4-7F5A-B2702464248F}"/>
          </ac:spMkLst>
        </pc:spChg>
      </pc:sldChg>
      <pc:sldChg chg="addSp modSp mod">
        <pc:chgData name="Divya Rank" userId="8a86f94f-bc51-45b1-baba-7f5d30607298" providerId="ADAL" clId="{12126C74-8380-4416-AB41-D42486FEE1A5}" dt="2025-06-13T13:30:59.737" v="2675" actId="1035"/>
        <pc:sldMkLst>
          <pc:docMk/>
          <pc:sldMk cId="1180124282" sldId="1409"/>
        </pc:sldMkLst>
        <pc:spChg chg="mod">
          <ac:chgData name="Divya Rank" userId="8a86f94f-bc51-45b1-baba-7f5d30607298" providerId="ADAL" clId="{12126C74-8380-4416-AB41-D42486FEE1A5}" dt="2025-06-13T13:30:59.737" v="2675" actId="1035"/>
          <ac:spMkLst>
            <pc:docMk/>
            <pc:sldMk cId="1180124282" sldId="1409"/>
            <ac:spMk id="2" creationId="{C6242FA0-BE29-FE65-E745-3629ADD2EB53}"/>
          </ac:spMkLst>
        </pc:spChg>
        <pc:spChg chg="mod">
          <ac:chgData name="Divya Rank" userId="8a86f94f-bc51-45b1-baba-7f5d30607298" providerId="ADAL" clId="{12126C74-8380-4416-AB41-D42486FEE1A5}" dt="2025-06-13T13:29:02.775" v="2618" actId="1035"/>
          <ac:spMkLst>
            <pc:docMk/>
            <pc:sldMk cId="1180124282" sldId="1409"/>
            <ac:spMk id="13" creationId="{31AEA88F-AEE2-147D-673A-B1C1F9219810}"/>
          </ac:spMkLst>
        </pc:spChg>
        <pc:grpChg chg="add mod">
          <ac:chgData name="Divya Rank" userId="8a86f94f-bc51-45b1-baba-7f5d30607298" providerId="ADAL" clId="{12126C74-8380-4416-AB41-D42486FEE1A5}" dt="2025-06-13T13:28:57.772" v="2616" actId="1076"/>
          <ac:grpSpMkLst>
            <pc:docMk/>
            <pc:sldMk cId="1180124282" sldId="1409"/>
            <ac:grpSpMk id="36" creationId="{899E965C-BCC2-3EDC-D32A-46BBFD9E7882}"/>
          </ac:grpSpMkLst>
        </pc:grpChg>
      </pc:sldChg>
      <pc:sldChg chg="modSp mod">
        <pc:chgData name="Divya Rank" userId="8a86f94f-bc51-45b1-baba-7f5d30607298" providerId="ADAL" clId="{12126C74-8380-4416-AB41-D42486FEE1A5}" dt="2025-06-13T13:31:55.151" v="2727" actId="14100"/>
        <pc:sldMkLst>
          <pc:docMk/>
          <pc:sldMk cId="2193362245" sldId="1416"/>
        </pc:sldMkLst>
        <pc:spChg chg="mod">
          <ac:chgData name="Divya Rank" userId="8a86f94f-bc51-45b1-baba-7f5d30607298" providerId="ADAL" clId="{12126C74-8380-4416-AB41-D42486FEE1A5}" dt="2025-06-13T13:31:47.987" v="2725" actId="1036"/>
          <ac:spMkLst>
            <pc:docMk/>
            <pc:sldMk cId="2193362245" sldId="1416"/>
            <ac:spMk id="4" creationId="{591F94A8-B937-FBD7-BF02-E751971A67D7}"/>
          </ac:spMkLst>
        </pc:spChg>
        <pc:spChg chg="mod">
          <ac:chgData name="Divya Rank" userId="8a86f94f-bc51-45b1-baba-7f5d30607298" providerId="ADAL" clId="{12126C74-8380-4416-AB41-D42486FEE1A5}" dt="2025-06-13T13:31:55.151" v="2727" actId="14100"/>
          <ac:spMkLst>
            <pc:docMk/>
            <pc:sldMk cId="2193362245" sldId="1416"/>
            <ac:spMk id="25" creationId="{BE307DF5-CED8-5D4C-AD30-81FDC8691E78}"/>
          </ac:spMkLst>
        </pc:spChg>
        <pc:picChg chg="mod">
          <ac:chgData name="Divya Rank" userId="8a86f94f-bc51-45b1-baba-7f5d30607298" providerId="ADAL" clId="{12126C74-8380-4416-AB41-D42486FEE1A5}" dt="2025-06-13T13:31:32.764" v="2681" actId="1076"/>
          <ac:picMkLst>
            <pc:docMk/>
            <pc:sldMk cId="2193362245" sldId="1416"/>
            <ac:picMk id="28" creationId="{80121C31-19EA-A2B2-8BA6-EFE9FCB2273D}"/>
          </ac:picMkLst>
        </pc:picChg>
      </pc:sldChg>
      <pc:sldChg chg="modSp mod">
        <pc:chgData name="Divya Rank" userId="8a86f94f-bc51-45b1-baba-7f5d30607298" providerId="ADAL" clId="{12126C74-8380-4416-AB41-D42486FEE1A5}" dt="2025-06-13T13:37:36.495" v="3131" actId="1037"/>
        <pc:sldMkLst>
          <pc:docMk/>
          <pc:sldMk cId="699312704" sldId="1419"/>
        </pc:sldMkLst>
        <pc:spChg chg="mod">
          <ac:chgData name="Divya Rank" userId="8a86f94f-bc51-45b1-baba-7f5d30607298" providerId="ADAL" clId="{12126C74-8380-4416-AB41-D42486FEE1A5}" dt="2025-06-13T13:36:52.755" v="3082" actId="1035"/>
          <ac:spMkLst>
            <pc:docMk/>
            <pc:sldMk cId="699312704" sldId="1419"/>
            <ac:spMk id="2" creationId="{39EE241D-DB58-747F-5187-FBC5665E4CB0}"/>
          </ac:spMkLst>
        </pc:spChg>
        <pc:spChg chg="mod">
          <ac:chgData name="Divya Rank" userId="8a86f94f-bc51-45b1-baba-7f5d30607298" providerId="ADAL" clId="{12126C74-8380-4416-AB41-D42486FEE1A5}" dt="2025-06-13T13:37:36.495" v="3131" actId="1037"/>
          <ac:spMkLst>
            <pc:docMk/>
            <pc:sldMk cId="699312704" sldId="1419"/>
            <ac:spMk id="6" creationId="{C04D169E-88E2-5D1E-181C-35CEE1D2D9D8}"/>
          </ac:spMkLst>
        </pc:spChg>
      </pc:sldChg>
      <pc:sldChg chg="del">
        <pc:chgData name="Divya Rank" userId="8a86f94f-bc51-45b1-baba-7f5d30607298" providerId="ADAL" clId="{12126C74-8380-4416-AB41-D42486FEE1A5}" dt="2025-06-13T13:32:27.219" v="2751" actId="47"/>
        <pc:sldMkLst>
          <pc:docMk/>
          <pc:sldMk cId="2534325615" sldId="1420"/>
        </pc:sldMkLst>
      </pc:sldChg>
      <pc:sldChg chg="addSp delSp modSp mod">
        <pc:chgData name="Divya Rank" userId="8a86f94f-bc51-45b1-baba-7f5d30607298" providerId="ADAL" clId="{12126C74-8380-4416-AB41-D42486FEE1A5}" dt="2025-06-13T13:53:37.158" v="3831" actId="1036"/>
        <pc:sldMkLst>
          <pc:docMk/>
          <pc:sldMk cId="401956825" sldId="1422"/>
        </pc:sldMkLst>
        <pc:spChg chg="mod">
          <ac:chgData name="Divya Rank" userId="8a86f94f-bc51-45b1-baba-7f5d30607298" providerId="ADAL" clId="{12126C74-8380-4416-AB41-D42486FEE1A5}" dt="2025-06-13T13:53:37.158" v="3831" actId="1036"/>
          <ac:spMkLst>
            <pc:docMk/>
            <pc:sldMk cId="401956825" sldId="1422"/>
            <ac:spMk id="2" creationId="{29BBE8E1-DF57-9CBA-4E86-8CDD2E6EFC37}"/>
          </ac:spMkLst>
        </pc:spChg>
        <pc:spChg chg="mod">
          <ac:chgData name="Divya Rank" userId="8a86f94f-bc51-45b1-baba-7f5d30607298" providerId="ADAL" clId="{12126C74-8380-4416-AB41-D42486FEE1A5}" dt="2025-06-13T13:32:59.113" v="2769" actId="1036"/>
          <ac:spMkLst>
            <pc:docMk/>
            <pc:sldMk cId="401956825" sldId="1422"/>
            <ac:spMk id="19" creationId="{92E59E4A-8507-2C7E-58BC-304204024DAB}"/>
          </ac:spMkLst>
        </pc:spChg>
        <pc:grpChg chg="add mod">
          <ac:chgData name="Divya Rank" userId="8a86f94f-bc51-45b1-baba-7f5d30607298" providerId="ADAL" clId="{12126C74-8380-4416-AB41-D42486FEE1A5}" dt="2025-06-13T13:33:09.603" v="2771" actId="1076"/>
          <ac:grpSpMkLst>
            <pc:docMk/>
            <pc:sldMk cId="401956825" sldId="1422"/>
            <ac:grpSpMk id="3" creationId="{519F6DE7-742C-B91C-31C3-BE043F8034EC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3:40:20.496" v="3301" actId="478"/>
        <pc:sldMkLst>
          <pc:docMk/>
          <pc:sldMk cId="1630084977" sldId="1424"/>
        </pc:sldMkLst>
        <pc:spChg chg="mod">
          <ac:chgData name="Divya Rank" userId="8a86f94f-bc51-45b1-baba-7f5d30607298" providerId="ADAL" clId="{12126C74-8380-4416-AB41-D42486FEE1A5}" dt="2025-06-13T13:36:42.922" v="3080" actId="1036"/>
          <ac:spMkLst>
            <pc:docMk/>
            <pc:sldMk cId="1630084977" sldId="1424"/>
            <ac:spMk id="2" creationId="{D571FD96-727F-B6AF-7DDB-6D3A160D95DC}"/>
          </ac:spMkLst>
        </pc:spChg>
        <pc:spChg chg="add mod">
          <ac:chgData name="Divya Rank" userId="8a86f94f-bc51-45b1-baba-7f5d30607298" providerId="ADAL" clId="{12126C74-8380-4416-AB41-D42486FEE1A5}" dt="2025-06-13T13:39:02.390" v="3144"/>
          <ac:spMkLst>
            <pc:docMk/>
            <pc:sldMk cId="1630084977" sldId="1424"/>
            <ac:spMk id="8" creationId="{C0C2CC46-0D6B-8C94-5BEA-179C851BEB51}"/>
          </ac:spMkLst>
        </pc:spChg>
        <pc:spChg chg="mod">
          <ac:chgData name="Divya Rank" userId="8a86f94f-bc51-45b1-baba-7f5d30607298" providerId="ADAL" clId="{12126C74-8380-4416-AB41-D42486FEE1A5}" dt="2025-06-13T13:39:10.635" v="3156" actId="1038"/>
          <ac:spMkLst>
            <pc:docMk/>
            <pc:sldMk cId="1630084977" sldId="1424"/>
            <ac:spMk id="19" creationId="{35A7C046-3643-4D7E-EF3C-D9D208645769}"/>
          </ac:spMkLst>
        </pc:spChg>
        <pc:spChg chg="mod">
          <ac:chgData name="Divya Rank" userId="8a86f94f-bc51-45b1-baba-7f5d30607298" providerId="ADAL" clId="{12126C74-8380-4416-AB41-D42486FEE1A5}" dt="2025-06-13T13:39:35.030" v="3196" actId="1037"/>
          <ac:spMkLst>
            <pc:docMk/>
            <pc:sldMk cId="1630084977" sldId="1424"/>
            <ac:spMk id="20" creationId="{5A388D71-B830-C05E-9E7E-B85D85F36E99}"/>
          </ac:spMkLst>
        </pc:spChg>
        <pc:spChg chg="mod">
          <ac:chgData name="Divya Rank" userId="8a86f94f-bc51-45b1-baba-7f5d30607298" providerId="ADAL" clId="{12126C74-8380-4416-AB41-D42486FEE1A5}" dt="2025-06-13T13:39:27.092" v="3186" actId="1035"/>
          <ac:spMkLst>
            <pc:docMk/>
            <pc:sldMk cId="1630084977" sldId="1424"/>
            <ac:spMk id="21" creationId="{80FF1AD4-2A9F-7EB7-F979-544C00955903}"/>
          </ac:spMkLst>
        </pc:spChg>
        <pc:spChg chg="mod">
          <ac:chgData name="Divya Rank" userId="8a86f94f-bc51-45b1-baba-7f5d30607298" providerId="ADAL" clId="{12126C74-8380-4416-AB41-D42486FEE1A5}" dt="2025-06-13T13:39:27.092" v="3186" actId="1035"/>
          <ac:spMkLst>
            <pc:docMk/>
            <pc:sldMk cId="1630084977" sldId="1424"/>
            <ac:spMk id="24" creationId="{662EABDA-3EEB-4FD6-01EE-AC692F9E757C}"/>
          </ac:spMkLst>
        </pc:spChg>
        <pc:spChg chg="mod">
          <ac:chgData name="Divya Rank" userId="8a86f94f-bc51-45b1-baba-7f5d30607298" providerId="ADAL" clId="{12126C74-8380-4416-AB41-D42486FEE1A5}" dt="2025-06-13T13:39:27.092" v="3186" actId="1035"/>
          <ac:spMkLst>
            <pc:docMk/>
            <pc:sldMk cId="1630084977" sldId="1424"/>
            <ac:spMk id="26" creationId="{E7C58F8F-2891-6E79-F984-418AB18DF3CF}"/>
          </ac:spMkLst>
        </pc:spChg>
        <pc:spChg chg="mod">
          <ac:chgData name="Divya Rank" userId="8a86f94f-bc51-45b1-baba-7f5d30607298" providerId="ADAL" clId="{12126C74-8380-4416-AB41-D42486FEE1A5}" dt="2025-06-13T13:39:27.092" v="3186" actId="1035"/>
          <ac:spMkLst>
            <pc:docMk/>
            <pc:sldMk cId="1630084977" sldId="1424"/>
            <ac:spMk id="28" creationId="{BDFEF227-DF2F-5CD3-3CD2-E30C1DE5022E}"/>
          </ac:spMkLst>
        </pc:spChg>
        <pc:grpChg chg="add del mod">
          <ac:chgData name="Divya Rank" userId="8a86f94f-bc51-45b1-baba-7f5d30607298" providerId="ADAL" clId="{12126C74-8380-4416-AB41-D42486FEE1A5}" dt="2025-06-13T13:40:20.496" v="3301" actId="478"/>
          <ac:grpSpMkLst>
            <pc:docMk/>
            <pc:sldMk cId="1630084977" sldId="1424"/>
            <ac:grpSpMk id="11" creationId="{6AF68B10-40D7-1DCF-0995-21692DC78075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3:51:35.138" v="3809" actId="1036"/>
        <pc:sldMkLst>
          <pc:docMk/>
          <pc:sldMk cId="3195594924" sldId="1441"/>
        </pc:sldMkLst>
        <pc:spChg chg="mod">
          <ac:chgData name="Divya Rank" userId="8a86f94f-bc51-45b1-baba-7f5d30607298" providerId="ADAL" clId="{12126C74-8380-4416-AB41-D42486FEE1A5}" dt="2025-06-13T13:35:43.613" v="2911" actId="1036"/>
          <ac:spMkLst>
            <pc:docMk/>
            <pc:sldMk cId="3195594924" sldId="1441"/>
            <ac:spMk id="2" creationId="{70B93DFC-093C-CA62-DD31-5B210CE92978}"/>
          </ac:spMkLst>
        </pc:spChg>
        <pc:spChg chg="add mod">
          <ac:chgData name="Divya Rank" userId="8a86f94f-bc51-45b1-baba-7f5d30607298" providerId="ADAL" clId="{12126C74-8380-4416-AB41-D42486FEE1A5}" dt="2025-06-13T13:48:08.942" v="3649"/>
          <ac:spMkLst>
            <pc:docMk/>
            <pc:sldMk cId="3195594924" sldId="1441"/>
            <ac:spMk id="4" creationId="{39F92EAC-FFEC-0E7F-96B9-1BF3611EF0A7}"/>
          </ac:spMkLst>
        </pc:spChg>
        <pc:spChg chg="add mod ord">
          <ac:chgData name="Divya Rank" userId="8a86f94f-bc51-45b1-baba-7f5d30607298" providerId="ADAL" clId="{12126C74-8380-4416-AB41-D42486FEE1A5}" dt="2025-06-13T13:51:35.138" v="3809" actId="1036"/>
          <ac:spMkLst>
            <pc:docMk/>
            <pc:sldMk cId="3195594924" sldId="1441"/>
            <ac:spMk id="7" creationId="{A020E833-1D81-A909-19B7-D3FB0C6A22F7}"/>
          </ac:spMkLst>
        </pc:spChg>
        <pc:spChg chg="mod ord">
          <ac:chgData name="Divya Rank" userId="8a86f94f-bc51-45b1-baba-7f5d30607298" providerId="ADAL" clId="{12126C74-8380-4416-AB41-D42486FEE1A5}" dt="2025-06-13T13:51:01.584" v="3801" actId="167"/>
          <ac:spMkLst>
            <pc:docMk/>
            <pc:sldMk cId="3195594924" sldId="1441"/>
            <ac:spMk id="24" creationId="{F42C1FE6-A55E-B073-9469-649AB7B07ECC}"/>
          </ac:spMkLst>
        </pc:spChg>
        <pc:spChg chg="mod">
          <ac:chgData name="Divya Rank" userId="8a86f94f-bc51-45b1-baba-7f5d30607298" providerId="ADAL" clId="{12126C74-8380-4416-AB41-D42486FEE1A5}" dt="2025-06-13T13:50:49.280" v="3798"/>
          <ac:spMkLst>
            <pc:docMk/>
            <pc:sldMk cId="3195594924" sldId="1441"/>
            <ac:spMk id="25" creationId="{8F714C8C-3F1B-0F58-4BBA-1F8250E944EE}"/>
          </ac:spMkLst>
        </pc:spChg>
        <pc:spChg chg="add del mod">
          <ac:chgData name="Divya Rank" userId="8a86f94f-bc51-45b1-baba-7f5d30607298" providerId="ADAL" clId="{12126C74-8380-4416-AB41-D42486FEE1A5}" dt="2025-06-13T13:50:49.280" v="3798"/>
          <ac:spMkLst>
            <pc:docMk/>
            <pc:sldMk cId="3195594924" sldId="1441"/>
            <ac:spMk id="26" creationId="{A5D0F8D2-7476-6EFE-FFE5-EDB55073C7B2}"/>
          </ac:spMkLst>
        </pc:spChg>
        <pc:spChg chg="mod">
          <ac:chgData name="Divya Rank" userId="8a86f94f-bc51-45b1-baba-7f5d30607298" providerId="ADAL" clId="{12126C74-8380-4416-AB41-D42486FEE1A5}" dt="2025-06-13T13:50:49.280" v="3798"/>
          <ac:spMkLst>
            <pc:docMk/>
            <pc:sldMk cId="3195594924" sldId="1441"/>
            <ac:spMk id="27" creationId="{FCE62F82-5DA8-A844-9C91-996202485D3F}"/>
          </ac:spMkLst>
        </pc:spChg>
        <pc:spChg chg="mod">
          <ac:chgData name="Divya Rank" userId="8a86f94f-bc51-45b1-baba-7f5d30607298" providerId="ADAL" clId="{12126C74-8380-4416-AB41-D42486FEE1A5}" dt="2025-06-13T13:50:49.280" v="3798"/>
          <ac:spMkLst>
            <pc:docMk/>
            <pc:sldMk cId="3195594924" sldId="1441"/>
            <ac:spMk id="30" creationId="{50F1D046-6F56-1FBA-D137-8EA212EE9313}"/>
          </ac:spMkLst>
        </pc:spChg>
        <pc:spChg chg="mod">
          <ac:chgData name="Divya Rank" userId="8a86f94f-bc51-45b1-baba-7f5d30607298" providerId="ADAL" clId="{12126C74-8380-4416-AB41-D42486FEE1A5}" dt="2025-06-13T13:50:49.280" v="3798"/>
          <ac:spMkLst>
            <pc:docMk/>
            <pc:sldMk cId="3195594924" sldId="1441"/>
            <ac:spMk id="32" creationId="{405EBA84-B8CA-B273-8FB8-F63029C98B11}"/>
          </ac:spMkLst>
        </pc:spChg>
        <pc:spChg chg="mod">
          <ac:chgData name="Divya Rank" userId="8a86f94f-bc51-45b1-baba-7f5d30607298" providerId="ADAL" clId="{12126C74-8380-4416-AB41-D42486FEE1A5}" dt="2025-06-13T13:50:49.280" v="3798"/>
          <ac:spMkLst>
            <pc:docMk/>
            <pc:sldMk cId="3195594924" sldId="1441"/>
            <ac:spMk id="33" creationId="{98AE8A8B-83B8-1D2D-FD82-0251C6DC1608}"/>
          </ac:spMkLst>
        </pc:spChg>
        <pc:spChg chg="mod">
          <ac:chgData name="Divya Rank" userId="8a86f94f-bc51-45b1-baba-7f5d30607298" providerId="ADAL" clId="{12126C74-8380-4416-AB41-D42486FEE1A5}" dt="2025-06-13T13:50:49.280" v="3798"/>
          <ac:spMkLst>
            <pc:docMk/>
            <pc:sldMk cId="3195594924" sldId="1441"/>
            <ac:spMk id="35" creationId="{8FE761C8-81C8-C78A-9A5B-7978E1CF56CC}"/>
          </ac:spMkLst>
        </pc:spChg>
        <pc:spChg chg="mod">
          <ac:chgData name="Divya Rank" userId="8a86f94f-bc51-45b1-baba-7f5d30607298" providerId="ADAL" clId="{12126C74-8380-4416-AB41-D42486FEE1A5}" dt="2025-06-13T13:50:49.280" v="3798"/>
          <ac:spMkLst>
            <pc:docMk/>
            <pc:sldMk cId="3195594924" sldId="1441"/>
            <ac:spMk id="36" creationId="{F76E1B75-A166-B58A-053B-0D5DED0C9A2D}"/>
          </ac:spMkLst>
        </pc:spChg>
        <pc:grpChg chg="add mod">
          <ac:chgData name="Divya Rank" userId="8a86f94f-bc51-45b1-baba-7f5d30607298" providerId="ADAL" clId="{12126C74-8380-4416-AB41-D42486FEE1A5}" dt="2025-06-13T13:51:11.563" v="3802" actId="1076"/>
          <ac:grpSpMkLst>
            <pc:docMk/>
            <pc:sldMk cId="3195594924" sldId="1441"/>
            <ac:grpSpMk id="5" creationId="{67D915F1-741B-5963-5824-FC446E8DC460}"/>
          </ac:grpSpMkLst>
        </pc:grpChg>
      </pc:sldChg>
      <pc:sldChg chg="modSp mod">
        <pc:chgData name="Divya Rank" userId="8a86f94f-bc51-45b1-baba-7f5d30607298" providerId="ADAL" clId="{12126C74-8380-4416-AB41-D42486FEE1A5}" dt="2025-06-13T13:35:39.512" v="2899" actId="1036"/>
        <pc:sldMkLst>
          <pc:docMk/>
          <pc:sldMk cId="2635961108" sldId="1443"/>
        </pc:sldMkLst>
        <pc:spChg chg="mod">
          <ac:chgData name="Divya Rank" userId="8a86f94f-bc51-45b1-baba-7f5d30607298" providerId="ADAL" clId="{12126C74-8380-4416-AB41-D42486FEE1A5}" dt="2025-06-13T13:35:39.512" v="2899" actId="1036"/>
          <ac:spMkLst>
            <pc:docMk/>
            <pc:sldMk cId="2635961108" sldId="1443"/>
            <ac:spMk id="2" creationId="{CF802232-3C26-F3B6-B4C7-C8159E0A1CF5}"/>
          </ac:spMkLst>
        </pc:spChg>
      </pc:sldChg>
      <pc:sldChg chg="addSp delSp modSp mod">
        <pc:chgData name="Divya Rank" userId="8a86f94f-bc51-45b1-baba-7f5d30607298" providerId="ADAL" clId="{12126C74-8380-4416-AB41-D42486FEE1A5}" dt="2025-06-13T15:31:59.692" v="5853" actId="34135"/>
        <pc:sldMkLst>
          <pc:docMk/>
          <pc:sldMk cId="1641759748" sldId="1454"/>
        </pc:sldMkLst>
        <pc:spChg chg="mod">
          <ac:chgData name="Divya Rank" userId="8a86f94f-bc51-45b1-baba-7f5d30607298" providerId="ADAL" clId="{12126C74-8380-4416-AB41-D42486FEE1A5}" dt="2025-06-13T15:30:08.664" v="5822" actId="14100"/>
          <ac:spMkLst>
            <pc:docMk/>
            <pc:sldMk cId="1641759748" sldId="1454"/>
            <ac:spMk id="57" creationId="{93E1975D-E4E3-C719-56C6-188B35E37E65}"/>
          </ac:spMkLst>
        </pc:spChg>
        <pc:picChg chg="add mod">
          <ac:chgData name="Divya Rank" userId="8a86f94f-bc51-45b1-baba-7f5d30607298" providerId="ADAL" clId="{12126C74-8380-4416-AB41-D42486FEE1A5}" dt="2025-06-13T15:31:59.692" v="5853" actId="34135"/>
          <ac:picMkLst>
            <pc:docMk/>
            <pc:sldMk cId="1641759748" sldId="1454"/>
            <ac:picMk id="5" creationId="{8BECA501-19B0-8705-F12E-511834FFEF14}"/>
          </ac:picMkLst>
        </pc:picChg>
      </pc:sldChg>
      <pc:sldChg chg="addSp delSp modSp mod">
        <pc:chgData name="Divya Rank" userId="8a86f94f-bc51-45b1-baba-7f5d30607298" providerId="ADAL" clId="{12126C74-8380-4416-AB41-D42486FEE1A5}" dt="2025-06-13T15:32:23.402" v="5859" actId="34135"/>
        <pc:sldMkLst>
          <pc:docMk/>
          <pc:sldMk cId="866224783" sldId="1457"/>
        </pc:sldMkLst>
        <pc:spChg chg="mod">
          <ac:chgData name="Divya Rank" userId="8a86f94f-bc51-45b1-baba-7f5d30607298" providerId="ADAL" clId="{12126C74-8380-4416-AB41-D42486FEE1A5}" dt="2025-06-13T15:29:23.960" v="5814" actId="1076"/>
          <ac:spMkLst>
            <pc:docMk/>
            <pc:sldMk cId="866224783" sldId="1457"/>
            <ac:spMk id="57" creationId="{4185B6AD-F7B9-FAEC-ED29-550491FEB15F}"/>
          </ac:spMkLst>
        </pc:spChg>
        <pc:spChg chg="mod">
          <ac:chgData name="Divya Rank" userId="8a86f94f-bc51-45b1-baba-7f5d30607298" providerId="ADAL" clId="{12126C74-8380-4416-AB41-D42486FEE1A5}" dt="2025-06-13T12:06:45.863" v="1113" actId="21"/>
          <ac:spMkLst>
            <pc:docMk/>
            <pc:sldMk cId="866224783" sldId="1457"/>
            <ac:spMk id="58" creationId="{5727D17E-75EA-8347-FFE5-DFD20EBC73F5}"/>
          </ac:spMkLst>
        </pc:spChg>
        <pc:spChg chg="mod">
          <ac:chgData name="Divya Rank" userId="8a86f94f-bc51-45b1-baba-7f5d30607298" providerId="ADAL" clId="{12126C74-8380-4416-AB41-D42486FEE1A5}" dt="2025-06-13T12:07:04.602" v="1122" actId="21"/>
          <ac:spMkLst>
            <pc:docMk/>
            <pc:sldMk cId="866224783" sldId="1457"/>
            <ac:spMk id="60" creationId="{341C89B8-6226-C32D-6F4B-00BB1177E604}"/>
          </ac:spMkLst>
        </pc:spChg>
        <pc:spChg chg="mod">
          <ac:chgData name="Divya Rank" userId="8a86f94f-bc51-45b1-baba-7f5d30607298" providerId="ADAL" clId="{12126C74-8380-4416-AB41-D42486FEE1A5}" dt="2025-06-13T12:06:55.068" v="1117" actId="21"/>
          <ac:spMkLst>
            <pc:docMk/>
            <pc:sldMk cId="866224783" sldId="1457"/>
            <ac:spMk id="61" creationId="{6F1FA80E-E6CD-EF9A-4981-635CCA9F4661}"/>
          </ac:spMkLst>
        </pc:spChg>
        <pc:spChg chg="mod">
          <ac:chgData name="Divya Rank" userId="8a86f94f-bc51-45b1-baba-7f5d30607298" providerId="ADAL" clId="{12126C74-8380-4416-AB41-D42486FEE1A5}" dt="2025-06-13T12:07:14.576" v="1129" actId="21"/>
          <ac:spMkLst>
            <pc:docMk/>
            <pc:sldMk cId="866224783" sldId="1457"/>
            <ac:spMk id="63" creationId="{D09C6073-6D07-B228-92D4-5FCFB1E32783}"/>
          </ac:spMkLst>
        </pc:spChg>
        <pc:spChg chg="mod">
          <ac:chgData name="Divya Rank" userId="8a86f94f-bc51-45b1-baba-7f5d30607298" providerId="ADAL" clId="{12126C74-8380-4416-AB41-D42486FEE1A5}" dt="2025-06-13T12:07:09.506" v="1125" actId="21"/>
          <ac:spMkLst>
            <pc:docMk/>
            <pc:sldMk cId="866224783" sldId="1457"/>
            <ac:spMk id="64" creationId="{58F40141-7742-406D-07CE-F6BEFAFD9E3D}"/>
          </ac:spMkLst>
        </pc:spChg>
        <pc:spChg chg="mod">
          <ac:chgData name="Divya Rank" userId="8a86f94f-bc51-45b1-baba-7f5d30607298" providerId="ADAL" clId="{12126C74-8380-4416-AB41-D42486FEE1A5}" dt="2025-06-13T12:07:23.348" v="1136" actId="21"/>
          <ac:spMkLst>
            <pc:docMk/>
            <pc:sldMk cId="866224783" sldId="1457"/>
            <ac:spMk id="66" creationId="{6E9A4E0E-96E1-B7C0-017E-8A689EBEDB9B}"/>
          </ac:spMkLst>
        </pc:spChg>
        <pc:spChg chg="mod">
          <ac:chgData name="Divya Rank" userId="8a86f94f-bc51-45b1-baba-7f5d30607298" providerId="ADAL" clId="{12126C74-8380-4416-AB41-D42486FEE1A5}" dt="2025-06-13T12:07:19.353" v="1132" actId="21"/>
          <ac:spMkLst>
            <pc:docMk/>
            <pc:sldMk cId="866224783" sldId="1457"/>
            <ac:spMk id="67" creationId="{ED89BCAD-FB83-B62E-4E98-EDD1BDAB8DB6}"/>
          </ac:spMkLst>
        </pc:spChg>
        <pc:picChg chg="add mod">
          <ac:chgData name="Divya Rank" userId="8a86f94f-bc51-45b1-baba-7f5d30607298" providerId="ADAL" clId="{12126C74-8380-4416-AB41-D42486FEE1A5}" dt="2025-06-13T15:32:23.402" v="5859" actId="34135"/>
          <ac:picMkLst>
            <pc:docMk/>
            <pc:sldMk cId="866224783" sldId="1457"/>
            <ac:picMk id="8" creationId="{38557F66-E5E0-3744-AD14-D597617F4BA0}"/>
          </ac:picMkLst>
        </pc:picChg>
      </pc:sldChg>
      <pc:sldChg chg="addSp modSp mod modAnim">
        <pc:chgData name="Divya Rank" userId="8a86f94f-bc51-45b1-baba-7f5d30607298" providerId="ADAL" clId="{12126C74-8380-4416-AB41-D42486FEE1A5}" dt="2025-06-13T15:24:27.739" v="5728" actId="20577"/>
        <pc:sldMkLst>
          <pc:docMk/>
          <pc:sldMk cId="2310470516" sldId="1458"/>
        </pc:sldMkLst>
        <pc:spChg chg="mod">
          <ac:chgData name="Divya Rank" userId="8a86f94f-bc51-45b1-baba-7f5d30607298" providerId="ADAL" clId="{12126C74-8380-4416-AB41-D42486FEE1A5}" dt="2025-06-13T15:24:27.739" v="5728" actId="20577"/>
          <ac:spMkLst>
            <pc:docMk/>
            <pc:sldMk cId="2310470516" sldId="1458"/>
            <ac:spMk id="3" creationId="{D373AEE1-ABFD-083E-5574-AE0FE5F1975A}"/>
          </ac:spMkLst>
        </pc:spChg>
        <pc:picChg chg="add mod">
          <ac:chgData name="Divya Rank" userId="8a86f94f-bc51-45b1-baba-7f5d30607298" providerId="ADAL" clId="{12126C74-8380-4416-AB41-D42486FEE1A5}" dt="2025-06-13T15:23:57.627" v="5716" actId="34135"/>
          <ac:picMkLst>
            <pc:docMk/>
            <pc:sldMk cId="2310470516" sldId="1458"/>
            <ac:picMk id="4" creationId="{25F4435E-D1E1-3F8D-E6FD-CF2C61395AB9}"/>
          </ac:picMkLst>
        </pc:picChg>
      </pc:sldChg>
      <pc:sldChg chg="addSp modSp mod modAnim">
        <pc:chgData name="Divya Rank" userId="8a86f94f-bc51-45b1-baba-7f5d30607298" providerId="ADAL" clId="{12126C74-8380-4416-AB41-D42486FEE1A5}" dt="2025-06-13T15:24:22.662" v="5727" actId="1036"/>
        <pc:sldMkLst>
          <pc:docMk/>
          <pc:sldMk cId="295806820" sldId="1460"/>
        </pc:sldMkLst>
        <pc:spChg chg="mod">
          <ac:chgData name="Divya Rank" userId="8a86f94f-bc51-45b1-baba-7f5d30607298" providerId="ADAL" clId="{12126C74-8380-4416-AB41-D42486FEE1A5}" dt="2025-06-13T15:24:22.662" v="5727" actId="1036"/>
          <ac:spMkLst>
            <pc:docMk/>
            <pc:sldMk cId="295806820" sldId="1460"/>
            <ac:spMk id="3" creationId="{424ED9FB-6F19-884C-956E-5AC4ABDD97DA}"/>
          </ac:spMkLst>
        </pc:spChg>
        <pc:picChg chg="add mod">
          <ac:chgData name="Divya Rank" userId="8a86f94f-bc51-45b1-baba-7f5d30607298" providerId="ADAL" clId="{12126C74-8380-4416-AB41-D42486FEE1A5}" dt="2025-06-13T15:24:04.966" v="5718" actId="34135"/>
          <ac:picMkLst>
            <pc:docMk/>
            <pc:sldMk cId="295806820" sldId="1460"/>
            <ac:picMk id="4" creationId="{BBBA2AD3-B042-B824-6224-512614D3337D}"/>
          </ac:picMkLst>
        </pc:picChg>
      </pc:sldChg>
      <pc:sldChg chg="addSp modSp mod modAnim">
        <pc:chgData name="Divya Rank" userId="8a86f94f-bc51-45b1-baba-7f5d30607298" providerId="ADAL" clId="{12126C74-8380-4416-AB41-D42486FEE1A5}" dt="2025-06-13T15:26:45.606" v="5781" actId="20577"/>
        <pc:sldMkLst>
          <pc:docMk/>
          <pc:sldMk cId="3763779622" sldId="1462"/>
        </pc:sldMkLst>
        <pc:spChg chg="mod">
          <ac:chgData name="Divya Rank" userId="8a86f94f-bc51-45b1-baba-7f5d30607298" providerId="ADAL" clId="{12126C74-8380-4416-AB41-D42486FEE1A5}" dt="2025-06-13T15:26:45.606" v="5781" actId="20577"/>
          <ac:spMkLst>
            <pc:docMk/>
            <pc:sldMk cId="3763779622" sldId="1462"/>
            <ac:spMk id="3" creationId="{C642FDC0-57DC-57ED-EAB3-66F98917AA1A}"/>
          </ac:spMkLst>
        </pc:spChg>
        <pc:spChg chg="mod">
          <ac:chgData name="Divya Rank" userId="8a86f94f-bc51-45b1-baba-7f5d30607298" providerId="ADAL" clId="{12126C74-8380-4416-AB41-D42486FEE1A5}" dt="2025-06-13T13:31:10.150" v="2678" actId="1036"/>
          <ac:spMkLst>
            <pc:docMk/>
            <pc:sldMk cId="3763779622" sldId="1462"/>
            <ac:spMk id="5" creationId="{E213CDB6-D449-1828-2111-50CA18AC30DC}"/>
          </ac:spMkLst>
        </pc:spChg>
        <pc:picChg chg="add mod">
          <ac:chgData name="Divya Rank" userId="8a86f94f-bc51-45b1-baba-7f5d30607298" providerId="ADAL" clId="{12126C74-8380-4416-AB41-D42486FEE1A5}" dt="2025-06-13T15:26:40.693" v="5778" actId="34135"/>
          <ac:picMkLst>
            <pc:docMk/>
            <pc:sldMk cId="3763779622" sldId="1462"/>
            <ac:picMk id="2" creationId="{3DD270DF-1B25-2546-D317-951DEEA0FF85}"/>
          </ac:picMkLst>
        </pc:picChg>
      </pc:sldChg>
      <pc:sldChg chg="addSp modSp mod modAnim">
        <pc:chgData name="Divya Rank" userId="8a86f94f-bc51-45b1-baba-7f5d30607298" providerId="ADAL" clId="{12126C74-8380-4416-AB41-D42486FEE1A5}" dt="2025-06-13T15:26:55.837" v="5784" actId="20577"/>
        <pc:sldMkLst>
          <pc:docMk/>
          <pc:sldMk cId="1622360155" sldId="1463"/>
        </pc:sldMkLst>
        <pc:spChg chg="mod">
          <ac:chgData name="Divya Rank" userId="8a86f94f-bc51-45b1-baba-7f5d30607298" providerId="ADAL" clId="{12126C74-8380-4416-AB41-D42486FEE1A5}" dt="2025-06-13T15:26:55.837" v="5784" actId="20577"/>
          <ac:spMkLst>
            <pc:docMk/>
            <pc:sldMk cId="1622360155" sldId="1463"/>
            <ac:spMk id="3" creationId="{16A1B900-00C6-8423-4764-0E54A7F61A59}"/>
          </ac:spMkLst>
        </pc:spChg>
        <pc:spChg chg="mod">
          <ac:chgData name="Divya Rank" userId="8a86f94f-bc51-45b1-baba-7f5d30607298" providerId="ADAL" clId="{12126C74-8380-4416-AB41-D42486FEE1A5}" dt="2025-06-13T13:31:07.122" v="2677" actId="1036"/>
          <ac:spMkLst>
            <pc:docMk/>
            <pc:sldMk cId="1622360155" sldId="1463"/>
            <ac:spMk id="9" creationId="{647AC83B-003B-1E00-F439-24D4ED2B7D79}"/>
          </ac:spMkLst>
        </pc:spChg>
        <pc:picChg chg="add mod">
          <ac:chgData name="Divya Rank" userId="8a86f94f-bc51-45b1-baba-7f5d30607298" providerId="ADAL" clId="{12126C74-8380-4416-AB41-D42486FEE1A5}" dt="2025-06-13T15:26:52.745" v="5783" actId="34135"/>
          <ac:picMkLst>
            <pc:docMk/>
            <pc:sldMk cId="1622360155" sldId="1463"/>
            <ac:picMk id="2" creationId="{5DAB6BBB-09A5-DE94-DAD3-1845F1EDA333}"/>
          </ac:picMkLst>
        </pc:picChg>
      </pc:sldChg>
      <pc:sldChg chg="addSp modSp mod modAnim">
        <pc:chgData name="Divya Rank" userId="8a86f94f-bc51-45b1-baba-7f5d30607298" providerId="ADAL" clId="{12126C74-8380-4416-AB41-D42486FEE1A5}" dt="2025-06-13T15:27:38.734" v="5791" actId="20577"/>
        <pc:sldMkLst>
          <pc:docMk/>
          <pc:sldMk cId="2334717616" sldId="1470"/>
        </pc:sldMkLst>
        <pc:spChg chg="mod">
          <ac:chgData name="Divya Rank" userId="8a86f94f-bc51-45b1-baba-7f5d30607298" providerId="ADAL" clId="{12126C74-8380-4416-AB41-D42486FEE1A5}" dt="2025-06-13T15:27:38.734" v="5791" actId="20577"/>
          <ac:spMkLst>
            <pc:docMk/>
            <pc:sldMk cId="2334717616" sldId="1470"/>
            <ac:spMk id="3" creationId="{F73DB6F3-DA58-7A70-85F4-ED3197A8252C}"/>
          </ac:spMkLst>
        </pc:spChg>
        <pc:picChg chg="add mod">
          <ac:chgData name="Divya Rank" userId="8a86f94f-bc51-45b1-baba-7f5d30607298" providerId="ADAL" clId="{12126C74-8380-4416-AB41-D42486FEE1A5}" dt="2025-06-13T15:27:32.940" v="5790" actId="34135"/>
          <ac:picMkLst>
            <pc:docMk/>
            <pc:sldMk cId="2334717616" sldId="1470"/>
            <ac:picMk id="4" creationId="{C86EF75A-B6BA-F1D2-166D-F598FB582908}"/>
          </ac:picMkLst>
        </pc:picChg>
      </pc:sldChg>
      <pc:sldChg chg="addSp modSp mod modAnim">
        <pc:chgData name="Divya Rank" userId="8a86f94f-bc51-45b1-baba-7f5d30607298" providerId="ADAL" clId="{12126C74-8380-4416-AB41-D42486FEE1A5}" dt="2025-06-13T15:27:23.567" v="5788" actId="6549"/>
        <pc:sldMkLst>
          <pc:docMk/>
          <pc:sldMk cId="2922851237" sldId="1471"/>
        </pc:sldMkLst>
        <pc:spChg chg="mod">
          <ac:chgData name="Divya Rank" userId="8a86f94f-bc51-45b1-baba-7f5d30607298" providerId="ADAL" clId="{12126C74-8380-4416-AB41-D42486FEE1A5}" dt="2025-06-13T15:27:23.567" v="5788" actId="6549"/>
          <ac:spMkLst>
            <pc:docMk/>
            <pc:sldMk cId="2922851237" sldId="1471"/>
            <ac:spMk id="3" creationId="{45BCC9CC-D67D-BC30-A190-8BF4F99095DD}"/>
          </ac:spMkLst>
        </pc:spChg>
        <pc:picChg chg="add mod">
          <ac:chgData name="Divya Rank" userId="8a86f94f-bc51-45b1-baba-7f5d30607298" providerId="ADAL" clId="{12126C74-8380-4416-AB41-D42486FEE1A5}" dt="2025-06-13T15:27:19.275" v="5786" actId="34135"/>
          <ac:picMkLst>
            <pc:docMk/>
            <pc:sldMk cId="2922851237" sldId="1471"/>
            <ac:picMk id="4" creationId="{7BD9650C-3C1A-3CF5-5FC3-6B11FF80E6D7}"/>
          </ac:picMkLst>
        </pc:picChg>
      </pc:sldChg>
      <pc:sldChg chg="addSp modSp mod">
        <pc:chgData name="Divya Rank" userId="8a86f94f-bc51-45b1-baba-7f5d30607298" providerId="ADAL" clId="{12126C74-8380-4416-AB41-D42486FEE1A5}" dt="2025-06-13T10:23:21.782" v="163" actId="113"/>
        <pc:sldMkLst>
          <pc:docMk/>
          <pc:sldMk cId="615437714" sldId="1475"/>
        </pc:sldMkLst>
        <pc:spChg chg="mod">
          <ac:chgData name="Divya Rank" userId="8a86f94f-bc51-45b1-baba-7f5d30607298" providerId="ADAL" clId="{12126C74-8380-4416-AB41-D42486FEE1A5}" dt="2025-06-13T10:21:53.342" v="149" actId="1076"/>
          <ac:spMkLst>
            <pc:docMk/>
            <pc:sldMk cId="615437714" sldId="1475"/>
            <ac:spMk id="46" creationId="{9009A841-06D6-4363-B6B2-41C8B416DA33}"/>
          </ac:spMkLst>
        </pc:spChg>
        <pc:spChg chg="mod">
          <ac:chgData name="Divya Rank" userId="8a86f94f-bc51-45b1-baba-7f5d30607298" providerId="ADAL" clId="{12126C74-8380-4416-AB41-D42486FEE1A5}" dt="2025-06-13T10:23:08.164" v="159" actId="1076"/>
          <ac:spMkLst>
            <pc:docMk/>
            <pc:sldMk cId="615437714" sldId="1475"/>
            <ac:spMk id="48" creationId="{58538F3B-C6C5-BA14-7E93-8AE116630FB0}"/>
          </ac:spMkLst>
        </pc:spChg>
        <pc:spChg chg="mod">
          <ac:chgData name="Divya Rank" userId="8a86f94f-bc51-45b1-baba-7f5d30607298" providerId="ADAL" clId="{12126C74-8380-4416-AB41-D42486FEE1A5}" dt="2025-06-13T10:23:16.326" v="160" actId="113"/>
          <ac:spMkLst>
            <pc:docMk/>
            <pc:sldMk cId="615437714" sldId="1475"/>
            <ac:spMk id="49" creationId="{C89A2236-D493-3808-1A3C-4078C9571747}"/>
          </ac:spMkLst>
        </pc:spChg>
        <pc:spChg chg="mod">
          <ac:chgData name="Divya Rank" userId="8a86f94f-bc51-45b1-baba-7f5d30607298" providerId="ADAL" clId="{12126C74-8380-4416-AB41-D42486FEE1A5}" dt="2025-06-13T10:23:21.782" v="163" actId="113"/>
          <ac:spMkLst>
            <pc:docMk/>
            <pc:sldMk cId="615437714" sldId="1475"/>
            <ac:spMk id="55" creationId="{A73FD652-5B2F-A4D1-C55A-7832EF8CA772}"/>
          </ac:spMkLst>
        </pc:spChg>
        <pc:spChg chg="mod">
          <ac:chgData name="Divya Rank" userId="8a86f94f-bc51-45b1-baba-7f5d30607298" providerId="ADAL" clId="{12126C74-8380-4416-AB41-D42486FEE1A5}" dt="2025-06-13T10:23:18.837" v="161" actId="113"/>
          <ac:spMkLst>
            <pc:docMk/>
            <pc:sldMk cId="615437714" sldId="1475"/>
            <ac:spMk id="59" creationId="{BC78EEE3-5BA1-EA78-EA88-32F7878BFBB1}"/>
          </ac:spMkLst>
        </pc:spChg>
        <pc:spChg chg="mod">
          <ac:chgData name="Divya Rank" userId="8a86f94f-bc51-45b1-baba-7f5d30607298" providerId="ADAL" clId="{12126C74-8380-4416-AB41-D42486FEE1A5}" dt="2025-06-13T10:23:20.452" v="162" actId="113"/>
          <ac:spMkLst>
            <pc:docMk/>
            <pc:sldMk cId="615437714" sldId="1475"/>
            <ac:spMk id="63" creationId="{C16382A9-2904-FAC0-3853-1049CBC59F72}"/>
          </ac:spMkLst>
        </pc:spChg>
        <pc:grpChg chg="add mod">
          <ac:chgData name="Divya Rank" userId="8a86f94f-bc51-45b1-baba-7f5d30607298" providerId="ADAL" clId="{12126C74-8380-4416-AB41-D42486FEE1A5}" dt="2025-06-13T10:22:26.229" v="155" actId="1076"/>
          <ac:grpSpMkLst>
            <pc:docMk/>
            <pc:sldMk cId="615437714" sldId="1475"/>
            <ac:grpSpMk id="3" creationId="{3726762A-FD76-E7FD-C72E-2AAC5DD750B5}"/>
          </ac:grpSpMkLst>
        </pc:grpChg>
        <pc:grpChg chg="add mod">
          <ac:chgData name="Divya Rank" userId="8a86f94f-bc51-45b1-baba-7f5d30607298" providerId="ADAL" clId="{12126C74-8380-4416-AB41-D42486FEE1A5}" dt="2025-06-13T10:22:47.335" v="157" actId="1076"/>
          <ac:grpSpMkLst>
            <pc:docMk/>
            <pc:sldMk cId="615437714" sldId="1475"/>
            <ac:grpSpMk id="5" creationId="{8E785457-4793-898D-96CF-8B3347D88751}"/>
          </ac:grpSpMkLst>
        </pc:grpChg>
        <pc:grpChg chg="add mod">
          <ac:chgData name="Divya Rank" userId="8a86f94f-bc51-45b1-baba-7f5d30607298" providerId="ADAL" clId="{12126C74-8380-4416-AB41-D42486FEE1A5}" dt="2025-06-13T10:22:31.572" v="156" actId="1076"/>
          <ac:grpSpMkLst>
            <pc:docMk/>
            <pc:sldMk cId="615437714" sldId="1475"/>
            <ac:grpSpMk id="6" creationId="{8B29739C-F2F5-C858-61E2-7411C4A9D1A5}"/>
          </ac:grpSpMkLst>
        </pc:grpChg>
        <pc:grpChg chg="add mod">
          <ac:chgData name="Divya Rank" userId="8a86f94f-bc51-45b1-baba-7f5d30607298" providerId="ADAL" clId="{12126C74-8380-4416-AB41-D42486FEE1A5}" dt="2025-06-13T10:22:52.364" v="158" actId="1076"/>
          <ac:grpSpMkLst>
            <pc:docMk/>
            <pc:sldMk cId="615437714" sldId="1475"/>
            <ac:grpSpMk id="9" creationId="{5D865410-3AE8-BFCC-50FC-DF00B006F73E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0:20:10.461" v="126" actId="14100"/>
        <pc:sldMkLst>
          <pc:docMk/>
          <pc:sldMk cId="662215785" sldId="1477"/>
        </pc:sldMkLst>
        <pc:spChg chg="mod">
          <ac:chgData name="Divya Rank" userId="8a86f94f-bc51-45b1-baba-7f5d30607298" providerId="ADAL" clId="{12126C74-8380-4416-AB41-D42486FEE1A5}" dt="2025-06-13T10:20:10.461" v="126" actId="14100"/>
          <ac:spMkLst>
            <pc:docMk/>
            <pc:sldMk cId="662215785" sldId="1477"/>
            <ac:spMk id="4" creationId="{33361BCD-B96C-E39B-2F70-70F4B0A4787B}"/>
          </ac:spMkLst>
        </pc:spChg>
        <pc:spChg chg="mod">
          <ac:chgData name="Divya Rank" userId="8a86f94f-bc51-45b1-baba-7f5d30607298" providerId="ADAL" clId="{12126C74-8380-4416-AB41-D42486FEE1A5}" dt="2025-06-13T10:18:45.608" v="90" actId="21"/>
          <ac:spMkLst>
            <pc:docMk/>
            <pc:sldMk cId="662215785" sldId="1477"/>
            <ac:spMk id="30" creationId="{D88E4B4B-0E8C-9A73-8AFE-3C06E1E6B8F0}"/>
          </ac:spMkLst>
        </pc:spChg>
        <pc:spChg chg="mod">
          <ac:chgData name="Divya Rank" userId="8a86f94f-bc51-45b1-baba-7f5d30607298" providerId="ADAL" clId="{12126C74-8380-4416-AB41-D42486FEE1A5}" dt="2025-06-13T10:19:10.789" v="97" actId="21"/>
          <ac:spMkLst>
            <pc:docMk/>
            <pc:sldMk cId="662215785" sldId="1477"/>
            <ac:spMk id="31" creationId="{3E7F52A1-B0C8-2DAF-D6A6-A1C0B7F37A61}"/>
          </ac:spMkLst>
        </pc:spChg>
        <pc:spChg chg="mod">
          <ac:chgData name="Divya Rank" userId="8a86f94f-bc51-45b1-baba-7f5d30607298" providerId="ADAL" clId="{12126C74-8380-4416-AB41-D42486FEE1A5}" dt="2025-06-13T10:19:28.322" v="107" actId="21"/>
          <ac:spMkLst>
            <pc:docMk/>
            <pc:sldMk cId="662215785" sldId="1477"/>
            <ac:spMk id="32" creationId="{8F4F78E0-3350-D0D7-764C-EDE91B8EE0E9}"/>
          </ac:spMkLst>
        </pc:spChg>
        <pc:spChg chg="mod">
          <ac:chgData name="Divya Rank" userId="8a86f94f-bc51-45b1-baba-7f5d30607298" providerId="ADAL" clId="{12126C74-8380-4416-AB41-D42486FEE1A5}" dt="2025-06-13T10:19:00.780" v="94" actId="21"/>
          <ac:spMkLst>
            <pc:docMk/>
            <pc:sldMk cId="662215785" sldId="1477"/>
            <ac:spMk id="34" creationId="{61A0EA8B-D98C-EBC2-61F5-45CD3B1FBF05}"/>
          </ac:spMkLst>
        </pc:spChg>
        <pc:spChg chg="mod topLvl">
          <ac:chgData name="Divya Rank" userId="8a86f94f-bc51-45b1-baba-7f5d30607298" providerId="ADAL" clId="{12126C74-8380-4416-AB41-D42486FEE1A5}" dt="2025-06-13T10:19:17.468" v="100" actId="21"/>
          <ac:spMkLst>
            <pc:docMk/>
            <pc:sldMk cId="662215785" sldId="1477"/>
            <ac:spMk id="36" creationId="{CBD526EB-A826-9840-69DD-FC4357C17CD0}"/>
          </ac:spMkLst>
        </pc:spChg>
      </pc:sldChg>
      <pc:sldChg chg="modSp mod">
        <pc:chgData name="Divya Rank" userId="8a86f94f-bc51-45b1-baba-7f5d30607298" providerId="ADAL" clId="{12126C74-8380-4416-AB41-D42486FEE1A5}" dt="2025-06-13T10:21:14.406" v="143" actId="1035"/>
        <pc:sldMkLst>
          <pc:docMk/>
          <pc:sldMk cId="3809681679" sldId="1478"/>
        </pc:sldMkLst>
        <pc:spChg chg="mod">
          <ac:chgData name="Divya Rank" userId="8a86f94f-bc51-45b1-baba-7f5d30607298" providerId="ADAL" clId="{12126C74-8380-4416-AB41-D42486FEE1A5}" dt="2025-06-13T10:21:14.406" v="143" actId="1035"/>
          <ac:spMkLst>
            <pc:docMk/>
            <pc:sldMk cId="3809681679" sldId="1478"/>
            <ac:spMk id="3" creationId="{6A411022-3705-3C1C-F2BB-D7F4FE2CD854}"/>
          </ac:spMkLst>
        </pc:spChg>
      </pc:sldChg>
      <pc:sldChg chg="modSp mod">
        <pc:chgData name="Divya Rank" userId="8a86f94f-bc51-45b1-baba-7f5d30607298" providerId="ADAL" clId="{12126C74-8380-4416-AB41-D42486FEE1A5}" dt="2025-06-13T10:18:29.490" v="89" actId="1036"/>
        <pc:sldMkLst>
          <pc:docMk/>
          <pc:sldMk cId="2015119999" sldId="1479"/>
        </pc:sldMkLst>
        <pc:spChg chg="mod">
          <ac:chgData name="Divya Rank" userId="8a86f94f-bc51-45b1-baba-7f5d30607298" providerId="ADAL" clId="{12126C74-8380-4416-AB41-D42486FEE1A5}" dt="2025-06-13T10:18:29.490" v="89" actId="1036"/>
          <ac:spMkLst>
            <pc:docMk/>
            <pc:sldMk cId="2015119999" sldId="1479"/>
            <ac:spMk id="3" creationId="{7565DF4E-44A0-8990-7F6B-145F5B8315A0}"/>
          </ac:spMkLst>
        </pc:spChg>
      </pc:sldChg>
      <pc:sldChg chg="modSp mod">
        <pc:chgData name="Divya Rank" userId="8a86f94f-bc51-45b1-baba-7f5d30607298" providerId="ADAL" clId="{12126C74-8380-4416-AB41-D42486FEE1A5}" dt="2025-06-13T15:21:05.716" v="5710" actId="115"/>
        <pc:sldMkLst>
          <pc:docMk/>
          <pc:sldMk cId="1844276349" sldId="1481"/>
        </pc:sldMkLst>
        <pc:spChg chg="mod">
          <ac:chgData name="Divya Rank" userId="8a86f94f-bc51-45b1-baba-7f5d30607298" providerId="ADAL" clId="{12126C74-8380-4416-AB41-D42486FEE1A5}" dt="2025-06-13T10:26:27.228" v="208" actId="34135"/>
          <ac:spMkLst>
            <pc:docMk/>
            <pc:sldMk cId="1844276349" sldId="1481"/>
            <ac:spMk id="14" creationId="{4B795FF2-5E90-0F60-F87C-D69CD112D997}"/>
          </ac:spMkLst>
        </pc:spChg>
        <pc:spChg chg="mod">
          <ac:chgData name="Divya Rank" userId="8a86f94f-bc51-45b1-baba-7f5d30607298" providerId="ADAL" clId="{12126C74-8380-4416-AB41-D42486FEE1A5}" dt="2025-06-13T10:26:27.228" v="208" actId="34135"/>
          <ac:spMkLst>
            <pc:docMk/>
            <pc:sldMk cId="1844276349" sldId="1481"/>
            <ac:spMk id="40" creationId="{0B0A3EBE-BBB2-4DFE-EE74-AA40AE85F129}"/>
          </ac:spMkLst>
        </pc:spChg>
        <pc:spChg chg="mod">
          <ac:chgData name="Divya Rank" userId="8a86f94f-bc51-45b1-baba-7f5d30607298" providerId="ADAL" clId="{12126C74-8380-4416-AB41-D42486FEE1A5}" dt="2025-06-13T10:26:27.228" v="208" actId="34135"/>
          <ac:spMkLst>
            <pc:docMk/>
            <pc:sldMk cId="1844276349" sldId="1481"/>
            <ac:spMk id="66" creationId="{4A00A871-A5BD-C8A1-1DA2-0DCF6C3C1519}"/>
          </ac:spMkLst>
        </pc:spChg>
        <pc:spChg chg="mod">
          <ac:chgData name="Divya Rank" userId="8a86f94f-bc51-45b1-baba-7f5d30607298" providerId="ADAL" clId="{12126C74-8380-4416-AB41-D42486FEE1A5}" dt="2025-06-13T10:26:27.228" v="208" actId="34135"/>
          <ac:spMkLst>
            <pc:docMk/>
            <pc:sldMk cId="1844276349" sldId="1481"/>
            <ac:spMk id="72" creationId="{D6DF6F47-D665-B112-C9CC-4CBA058E8151}"/>
          </ac:spMkLst>
        </pc:spChg>
        <pc:spChg chg="mod">
          <ac:chgData name="Divya Rank" userId="8a86f94f-bc51-45b1-baba-7f5d30607298" providerId="ADAL" clId="{12126C74-8380-4416-AB41-D42486FEE1A5}" dt="2025-06-13T10:26:27.228" v="208" actId="34135"/>
          <ac:spMkLst>
            <pc:docMk/>
            <pc:sldMk cId="1844276349" sldId="1481"/>
            <ac:spMk id="93" creationId="{633681B1-2A5C-D28F-B967-105D44CF4D5D}"/>
          </ac:spMkLst>
        </pc:spChg>
        <pc:spChg chg="mod">
          <ac:chgData name="Divya Rank" userId="8a86f94f-bc51-45b1-baba-7f5d30607298" providerId="ADAL" clId="{12126C74-8380-4416-AB41-D42486FEE1A5}" dt="2025-06-13T10:26:27.228" v="208" actId="34135"/>
          <ac:spMkLst>
            <pc:docMk/>
            <pc:sldMk cId="1844276349" sldId="1481"/>
            <ac:spMk id="96" creationId="{D06A162B-5928-F2D2-2B4A-498D1264E41D}"/>
          </ac:spMkLst>
        </pc:spChg>
        <pc:spChg chg="mod">
          <ac:chgData name="Divya Rank" userId="8a86f94f-bc51-45b1-baba-7f5d30607298" providerId="ADAL" clId="{12126C74-8380-4416-AB41-D42486FEE1A5}" dt="2025-06-13T10:26:27.228" v="208" actId="34135"/>
          <ac:spMkLst>
            <pc:docMk/>
            <pc:sldMk cId="1844276349" sldId="1481"/>
            <ac:spMk id="97" creationId="{70133423-A9A3-EE29-35FF-A9F10FD4FDC2}"/>
          </ac:spMkLst>
        </pc:spChg>
        <pc:spChg chg="mod">
          <ac:chgData name="Divya Rank" userId="8a86f94f-bc51-45b1-baba-7f5d30607298" providerId="ADAL" clId="{12126C74-8380-4416-AB41-D42486FEE1A5}" dt="2025-06-13T10:26:27.228" v="208" actId="34135"/>
          <ac:spMkLst>
            <pc:docMk/>
            <pc:sldMk cId="1844276349" sldId="1481"/>
            <ac:spMk id="107" creationId="{5441712B-6B1F-8C7F-C656-82CE79B9F126}"/>
          </ac:spMkLst>
        </pc:spChg>
        <pc:spChg chg="mod">
          <ac:chgData name="Divya Rank" userId="8a86f94f-bc51-45b1-baba-7f5d30607298" providerId="ADAL" clId="{12126C74-8380-4416-AB41-D42486FEE1A5}" dt="2025-06-13T10:26:27.228" v="208" actId="34135"/>
          <ac:spMkLst>
            <pc:docMk/>
            <pc:sldMk cId="1844276349" sldId="1481"/>
            <ac:spMk id="128" creationId="{FEF198A0-6FBE-E5F9-58EA-4A9B06C621E0}"/>
          </ac:spMkLst>
        </pc:spChg>
        <pc:spChg chg="mod">
          <ac:chgData name="Divya Rank" userId="8a86f94f-bc51-45b1-baba-7f5d30607298" providerId="ADAL" clId="{12126C74-8380-4416-AB41-D42486FEE1A5}" dt="2025-06-13T10:26:27.228" v="208" actId="34135"/>
          <ac:spMkLst>
            <pc:docMk/>
            <pc:sldMk cId="1844276349" sldId="1481"/>
            <ac:spMk id="138" creationId="{381FDA92-3F23-9861-F619-0B7D0F0534B8}"/>
          </ac:spMkLst>
        </pc:spChg>
        <pc:spChg chg="mod">
          <ac:chgData name="Divya Rank" userId="8a86f94f-bc51-45b1-baba-7f5d30607298" providerId="ADAL" clId="{12126C74-8380-4416-AB41-D42486FEE1A5}" dt="2025-06-13T15:21:05.716" v="5710" actId="115"/>
          <ac:spMkLst>
            <pc:docMk/>
            <pc:sldMk cId="1844276349" sldId="1481"/>
            <ac:spMk id="144" creationId="{72DD77C6-A7A3-5ADC-FEA1-C5E620CFB3B9}"/>
          </ac:spMkLst>
        </pc:spChg>
      </pc:sldChg>
      <pc:sldChg chg="modSp mod">
        <pc:chgData name="Divya Rank" userId="8a86f94f-bc51-45b1-baba-7f5d30607298" providerId="ADAL" clId="{12126C74-8380-4416-AB41-D42486FEE1A5}" dt="2025-06-13T10:23:35.555" v="165" actId="1035"/>
        <pc:sldMkLst>
          <pc:docMk/>
          <pc:sldMk cId="4159238697" sldId="1482"/>
        </pc:sldMkLst>
        <pc:picChg chg="mod">
          <ac:chgData name="Divya Rank" userId="8a86f94f-bc51-45b1-baba-7f5d30607298" providerId="ADAL" clId="{12126C74-8380-4416-AB41-D42486FEE1A5}" dt="2025-06-13T10:23:35.555" v="165" actId="1035"/>
          <ac:picMkLst>
            <pc:docMk/>
            <pc:sldMk cId="4159238697" sldId="1482"/>
            <ac:picMk id="6" creationId="{0E90F7C9-716A-9B51-D81A-AF6152C0A134}"/>
          </ac:picMkLst>
        </pc:picChg>
      </pc:sldChg>
      <pc:sldChg chg="modSp mod">
        <pc:chgData name="Divya Rank" userId="8a86f94f-bc51-45b1-baba-7f5d30607298" providerId="ADAL" clId="{12126C74-8380-4416-AB41-D42486FEE1A5}" dt="2025-06-13T11:27:12.954" v="495" actId="12"/>
        <pc:sldMkLst>
          <pc:docMk/>
          <pc:sldMk cId="2521043094" sldId="1485"/>
        </pc:sldMkLst>
        <pc:spChg chg="mod">
          <ac:chgData name="Divya Rank" userId="8a86f94f-bc51-45b1-baba-7f5d30607298" providerId="ADAL" clId="{12126C74-8380-4416-AB41-D42486FEE1A5}" dt="2025-06-13T11:27:12.954" v="495" actId="12"/>
          <ac:spMkLst>
            <pc:docMk/>
            <pc:sldMk cId="2521043094" sldId="1485"/>
            <ac:spMk id="9" creationId="{3D85A627-3187-BA02-089C-7550BD8BA685}"/>
          </ac:spMkLst>
        </pc:spChg>
      </pc:sldChg>
      <pc:sldChg chg="modSp mod">
        <pc:chgData name="Divya Rank" userId="8a86f94f-bc51-45b1-baba-7f5d30607298" providerId="ADAL" clId="{12126C74-8380-4416-AB41-D42486FEE1A5}" dt="2025-06-13T10:26:10.225" v="205" actId="113"/>
        <pc:sldMkLst>
          <pc:docMk/>
          <pc:sldMk cId="1349145241" sldId="1487"/>
        </pc:sldMkLst>
        <pc:spChg chg="mod">
          <ac:chgData name="Divya Rank" userId="8a86f94f-bc51-45b1-baba-7f5d30607298" providerId="ADAL" clId="{12126C74-8380-4416-AB41-D42486FEE1A5}" dt="2025-06-13T10:26:10.225" v="205" actId="113"/>
          <ac:spMkLst>
            <pc:docMk/>
            <pc:sldMk cId="1349145241" sldId="1487"/>
            <ac:spMk id="9" creationId="{D654DD09-6F5D-3B43-9476-DB519F958288}"/>
          </ac:spMkLst>
        </pc:spChg>
      </pc:sldChg>
      <pc:sldChg chg="modSp mod">
        <pc:chgData name="Divya Rank" userId="8a86f94f-bc51-45b1-baba-7f5d30607298" providerId="ADAL" clId="{12126C74-8380-4416-AB41-D42486FEE1A5}" dt="2025-06-13T10:42:11.269" v="309" actId="2710"/>
        <pc:sldMkLst>
          <pc:docMk/>
          <pc:sldMk cId="2382565619" sldId="1490"/>
        </pc:sldMkLst>
        <pc:spChg chg="mod">
          <ac:chgData name="Divya Rank" userId="8a86f94f-bc51-45b1-baba-7f5d30607298" providerId="ADAL" clId="{12126C74-8380-4416-AB41-D42486FEE1A5}" dt="2025-06-13T10:42:11.269" v="309" actId="2710"/>
          <ac:spMkLst>
            <pc:docMk/>
            <pc:sldMk cId="2382565619" sldId="1490"/>
            <ac:spMk id="29" creationId="{C91268D8-237E-B0A0-6D47-AF4D5D059076}"/>
          </ac:spMkLst>
        </pc:spChg>
      </pc:sldChg>
      <pc:sldChg chg="modSp">
        <pc:chgData name="Divya Rank" userId="8a86f94f-bc51-45b1-baba-7f5d30607298" providerId="ADAL" clId="{12126C74-8380-4416-AB41-D42486FEE1A5}" dt="2025-06-13T12:40:17.473" v="1185" actId="1035"/>
        <pc:sldMkLst>
          <pc:docMk/>
          <pc:sldMk cId="127296720" sldId="1491"/>
        </pc:sldMkLst>
        <pc:picChg chg="mod">
          <ac:chgData name="Divya Rank" userId="8a86f94f-bc51-45b1-baba-7f5d30607298" providerId="ADAL" clId="{12126C74-8380-4416-AB41-D42486FEE1A5}" dt="2025-06-13T12:40:17.473" v="1185" actId="1035"/>
          <ac:picMkLst>
            <pc:docMk/>
            <pc:sldMk cId="127296720" sldId="1491"/>
            <ac:picMk id="7" creationId="{AF297B3A-FC84-266E-A2C0-A5049A8DD17D}"/>
          </ac:picMkLst>
        </pc:picChg>
      </pc:sldChg>
      <pc:sldChg chg="addSp delSp modSp mod">
        <pc:chgData name="Divya Rank" userId="8a86f94f-bc51-45b1-baba-7f5d30607298" providerId="ADAL" clId="{12126C74-8380-4416-AB41-D42486FEE1A5}" dt="2025-06-13T12:39:09.695" v="1145" actId="931"/>
        <pc:sldMkLst>
          <pc:docMk/>
          <pc:sldMk cId="3658727067" sldId="1492"/>
        </pc:sldMkLst>
        <pc:picChg chg="add mod">
          <ac:chgData name="Divya Rank" userId="8a86f94f-bc51-45b1-baba-7f5d30607298" providerId="ADAL" clId="{12126C74-8380-4416-AB41-D42486FEE1A5}" dt="2025-06-13T12:39:09.695" v="1145" actId="931"/>
          <ac:picMkLst>
            <pc:docMk/>
            <pc:sldMk cId="3658727067" sldId="1492"/>
            <ac:picMk id="13" creationId="{73B16C8D-5E86-820A-64A8-BCC021A48E0A}"/>
          </ac:picMkLst>
        </pc:picChg>
      </pc:sldChg>
      <pc:sldChg chg="modSp mod">
        <pc:chgData name="Divya Rank" userId="8a86f94f-bc51-45b1-baba-7f5d30607298" providerId="ADAL" clId="{12126C74-8380-4416-AB41-D42486FEE1A5}" dt="2025-06-13T12:41:00.916" v="1191" actId="14100"/>
        <pc:sldMkLst>
          <pc:docMk/>
          <pc:sldMk cId="1158807392" sldId="1493"/>
        </pc:sldMkLst>
        <pc:spChg chg="mod">
          <ac:chgData name="Divya Rank" userId="8a86f94f-bc51-45b1-baba-7f5d30607298" providerId="ADAL" clId="{12126C74-8380-4416-AB41-D42486FEE1A5}" dt="2025-06-13T12:41:00.916" v="1191" actId="14100"/>
          <ac:spMkLst>
            <pc:docMk/>
            <pc:sldMk cId="1158807392" sldId="1493"/>
            <ac:spMk id="6" creationId="{3C5589BF-BA0B-1508-7CF6-12995291A67B}"/>
          </ac:spMkLst>
        </pc:spChg>
      </pc:sldChg>
      <pc:sldChg chg="modSp mod">
        <pc:chgData name="Divya Rank" userId="8a86f94f-bc51-45b1-baba-7f5d30607298" providerId="ADAL" clId="{12126C74-8380-4416-AB41-D42486FEE1A5}" dt="2025-06-14T04:12:31.478" v="6073" actId="1036"/>
        <pc:sldMkLst>
          <pc:docMk/>
          <pc:sldMk cId="1130605282" sldId="1495"/>
        </pc:sldMkLst>
        <pc:spChg chg="mod">
          <ac:chgData name="Divya Rank" userId="8a86f94f-bc51-45b1-baba-7f5d30607298" providerId="ADAL" clId="{12126C74-8380-4416-AB41-D42486FEE1A5}" dt="2025-06-14T04:12:31.478" v="6073" actId="1036"/>
          <ac:spMkLst>
            <pc:docMk/>
            <pc:sldMk cId="1130605282" sldId="1495"/>
            <ac:spMk id="2" creationId="{3B855953-583E-F2FC-F34B-1DA3DC13678F}"/>
          </ac:spMkLst>
        </pc:spChg>
        <pc:spChg chg="mod">
          <ac:chgData name="Divya Rank" userId="8a86f94f-bc51-45b1-baba-7f5d30607298" providerId="ADAL" clId="{12126C74-8380-4416-AB41-D42486FEE1A5}" dt="2025-06-13T12:41:36.399" v="1198" actId="14100"/>
          <ac:spMkLst>
            <pc:docMk/>
            <pc:sldMk cId="1130605282" sldId="1495"/>
            <ac:spMk id="6" creationId="{5EF836A1-0AA6-6299-7E5B-B7E74D3BD900}"/>
          </ac:spMkLst>
        </pc:spChg>
        <pc:spChg chg="mod">
          <ac:chgData name="Divya Rank" userId="8a86f94f-bc51-45b1-baba-7f5d30607298" providerId="ADAL" clId="{12126C74-8380-4416-AB41-D42486FEE1A5}" dt="2025-06-13T12:41:32.691" v="1197" actId="14100"/>
          <ac:spMkLst>
            <pc:docMk/>
            <pc:sldMk cId="1130605282" sldId="1495"/>
            <ac:spMk id="14" creationId="{7B828082-E77B-19E6-4C53-7B53635BBA7D}"/>
          </ac:spMkLst>
        </pc:spChg>
      </pc:sldChg>
      <pc:sldChg chg="addSp delSp modSp mod">
        <pc:chgData name="Divya Rank" userId="8a86f94f-bc51-45b1-baba-7f5d30607298" providerId="ADAL" clId="{12126C74-8380-4416-AB41-D42486FEE1A5}" dt="2025-06-14T04:12:26.553" v="6071" actId="1036"/>
        <pc:sldMkLst>
          <pc:docMk/>
          <pc:sldMk cId="1523651696" sldId="1496"/>
        </pc:sldMkLst>
        <pc:spChg chg="mod">
          <ac:chgData name="Divya Rank" userId="8a86f94f-bc51-45b1-baba-7f5d30607298" providerId="ADAL" clId="{12126C74-8380-4416-AB41-D42486FEE1A5}" dt="2025-06-14T04:12:26.553" v="6071" actId="1036"/>
          <ac:spMkLst>
            <pc:docMk/>
            <pc:sldMk cId="1523651696" sldId="1496"/>
            <ac:spMk id="2" creationId="{4D4C6BF0-CDB7-DF7D-C439-6E9FF3AEFFB5}"/>
          </ac:spMkLst>
        </pc:spChg>
        <pc:spChg chg="add mod">
          <ac:chgData name="Divya Rank" userId="8a86f94f-bc51-45b1-baba-7f5d30607298" providerId="ADAL" clId="{12126C74-8380-4416-AB41-D42486FEE1A5}" dt="2025-06-13T13:22:02.976" v="2171"/>
          <ac:spMkLst>
            <pc:docMk/>
            <pc:sldMk cId="1523651696" sldId="1496"/>
            <ac:spMk id="7" creationId="{AEFC280D-D027-AB63-6B3C-DDB45B798EDD}"/>
          </ac:spMkLst>
        </pc:spChg>
        <pc:spChg chg="mod">
          <ac:chgData name="Divya Rank" userId="8a86f94f-bc51-45b1-baba-7f5d30607298" providerId="ADAL" clId="{12126C74-8380-4416-AB41-D42486FEE1A5}" dt="2025-06-13T12:41:50.188" v="1201" actId="14100"/>
          <ac:spMkLst>
            <pc:docMk/>
            <pc:sldMk cId="1523651696" sldId="1496"/>
            <ac:spMk id="12" creationId="{C63F1B04-C01C-C142-8B8C-45516A9FCFDB}"/>
          </ac:spMkLst>
        </pc:spChg>
      </pc:sldChg>
      <pc:sldChg chg="modSp mod">
        <pc:chgData name="Divya Rank" userId="8a86f94f-bc51-45b1-baba-7f5d30607298" providerId="ADAL" clId="{12126C74-8380-4416-AB41-D42486FEE1A5}" dt="2025-06-13T12:41:11.563" v="1192" actId="1076"/>
        <pc:sldMkLst>
          <pc:docMk/>
          <pc:sldMk cId="2417004778" sldId="1498"/>
        </pc:sldMkLst>
        <pc:spChg chg="mod">
          <ac:chgData name="Divya Rank" userId="8a86f94f-bc51-45b1-baba-7f5d30607298" providerId="ADAL" clId="{12126C74-8380-4416-AB41-D42486FEE1A5}" dt="2025-06-13T12:41:11.563" v="1192" actId="1076"/>
          <ac:spMkLst>
            <pc:docMk/>
            <pc:sldMk cId="2417004778" sldId="1498"/>
            <ac:spMk id="6" creationId="{29A99055-28EB-EE49-3710-66FA4C49B1DF}"/>
          </ac:spMkLst>
        </pc:spChg>
        <pc:spChg chg="mod">
          <ac:chgData name="Divya Rank" userId="8a86f94f-bc51-45b1-baba-7f5d30607298" providerId="ADAL" clId="{12126C74-8380-4416-AB41-D42486FEE1A5}" dt="2025-06-13T10:48:28.414" v="361" actId="14100"/>
          <ac:spMkLst>
            <pc:docMk/>
            <pc:sldMk cId="2417004778" sldId="1498"/>
            <ac:spMk id="14" creationId="{E8336370-A5C8-6E57-FD3E-8C53224DA7A3}"/>
          </ac:spMkLst>
        </pc:spChg>
      </pc:sldChg>
      <pc:sldChg chg="modSp mod">
        <pc:chgData name="Divya Rank" userId="8a86f94f-bc51-45b1-baba-7f5d30607298" providerId="ADAL" clId="{12126C74-8380-4416-AB41-D42486FEE1A5}" dt="2025-06-13T12:40:36.982" v="1190" actId="15"/>
        <pc:sldMkLst>
          <pc:docMk/>
          <pc:sldMk cId="88185852" sldId="1499"/>
        </pc:sldMkLst>
        <pc:spChg chg="mod">
          <ac:chgData name="Divya Rank" userId="8a86f94f-bc51-45b1-baba-7f5d30607298" providerId="ADAL" clId="{12126C74-8380-4416-AB41-D42486FEE1A5}" dt="2025-06-13T12:40:25.232" v="1186" actId="14100"/>
          <ac:spMkLst>
            <pc:docMk/>
            <pc:sldMk cId="88185852" sldId="1499"/>
            <ac:spMk id="6" creationId="{94A61F51-0B5B-84EF-348B-090A07A3937C}"/>
          </ac:spMkLst>
        </pc:spChg>
        <pc:spChg chg="mod">
          <ac:chgData name="Divya Rank" userId="8a86f94f-bc51-45b1-baba-7f5d30607298" providerId="ADAL" clId="{12126C74-8380-4416-AB41-D42486FEE1A5}" dt="2025-06-13T12:40:36.982" v="1190" actId="15"/>
          <ac:spMkLst>
            <pc:docMk/>
            <pc:sldMk cId="88185852" sldId="1499"/>
            <ac:spMk id="14" creationId="{C0F26019-6664-1212-F6DD-B8B47EB3DD91}"/>
          </ac:spMkLst>
        </pc:spChg>
      </pc:sldChg>
      <pc:sldChg chg="modSp mod">
        <pc:chgData name="Divya Rank" userId="8a86f94f-bc51-45b1-baba-7f5d30607298" providerId="ADAL" clId="{12126C74-8380-4416-AB41-D42486FEE1A5}" dt="2025-06-13T10:45:04.743" v="359" actId="1038"/>
        <pc:sldMkLst>
          <pc:docMk/>
          <pc:sldMk cId="1739768020" sldId="1500"/>
        </pc:sldMkLst>
        <pc:spChg chg="mod">
          <ac:chgData name="Divya Rank" userId="8a86f94f-bc51-45b1-baba-7f5d30607298" providerId="ADAL" clId="{12126C74-8380-4416-AB41-D42486FEE1A5}" dt="2025-06-13T10:45:04.743" v="359" actId="1038"/>
          <ac:spMkLst>
            <pc:docMk/>
            <pc:sldMk cId="1739768020" sldId="1500"/>
            <ac:spMk id="9" creationId="{80DCCF5A-1195-80C9-1C43-0EF76043730E}"/>
          </ac:spMkLst>
        </pc:spChg>
        <pc:spChg chg="mod">
          <ac:chgData name="Divya Rank" userId="8a86f94f-bc51-45b1-baba-7f5d30607298" providerId="ADAL" clId="{12126C74-8380-4416-AB41-D42486FEE1A5}" dt="2025-06-13T10:44:51.246" v="323" actId="1038"/>
          <ac:spMkLst>
            <pc:docMk/>
            <pc:sldMk cId="1739768020" sldId="1500"/>
            <ac:spMk id="11" creationId="{EBEA6C93-FC23-4EB1-4A3B-F47DDA88AFD3}"/>
          </ac:spMkLst>
        </pc:spChg>
      </pc:sldChg>
      <pc:sldChg chg="modSp mod">
        <pc:chgData name="Divya Rank" userId="8a86f94f-bc51-45b1-baba-7f5d30607298" providerId="ADAL" clId="{12126C74-8380-4416-AB41-D42486FEE1A5}" dt="2025-06-14T04:12:28.866" v="6072" actId="1036"/>
        <pc:sldMkLst>
          <pc:docMk/>
          <pc:sldMk cId="740212731" sldId="1501"/>
        </pc:sldMkLst>
        <pc:spChg chg="mod">
          <ac:chgData name="Divya Rank" userId="8a86f94f-bc51-45b1-baba-7f5d30607298" providerId="ADAL" clId="{12126C74-8380-4416-AB41-D42486FEE1A5}" dt="2025-06-14T04:12:28.866" v="6072" actId="1036"/>
          <ac:spMkLst>
            <pc:docMk/>
            <pc:sldMk cId="740212731" sldId="1501"/>
            <ac:spMk id="2" creationId="{8C4E9843-0C74-73F3-2482-ADE6F6DBF17B}"/>
          </ac:spMkLst>
        </pc:spChg>
      </pc:sldChg>
      <pc:sldChg chg="modSp mod">
        <pc:chgData name="Divya Rank" userId="8a86f94f-bc51-45b1-baba-7f5d30607298" providerId="ADAL" clId="{12126C74-8380-4416-AB41-D42486FEE1A5}" dt="2025-06-14T04:12:15.023" v="6069" actId="1035"/>
        <pc:sldMkLst>
          <pc:docMk/>
          <pc:sldMk cId="3432880316" sldId="1502"/>
        </pc:sldMkLst>
        <pc:spChg chg="mod">
          <ac:chgData name="Divya Rank" userId="8a86f94f-bc51-45b1-baba-7f5d30607298" providerId="ADAL" clId="{12126C74-8380-4416-AB41-D42486FEE1A5}" dt="2025-06-14T04:12:15.023" v="6069" actId="1035"/>
          <ac:spMkLst>
            <pc:docMk/>
            <pc:sldMk cId="3432880316" sldId="1502"/>
            <ac:spMk id="2" creationId="{90D8DBB4-2255-202F-0213-F8AE2B141ABE}"/>
          </ac:spMkLst>
        </pc:spChg>
      </pc:sldChg>
      <pc:sldChg chg="modSp">
        <pc:chgData name="Divya Rank" userId="8a86f94f-bc51-45b1-baba-7f5d30607298" providerId="ADAL" clId="{12126C74-8380-4416-AB41-D42486FEE1A5}" dt="2025-06-13T11:24:42.441" v="445" actId="2710"/>
        <pc:sldMkLst>
          <pc:docMk/>
          <pc:sldMk cId="3370607659" sldId="1504"/>
        </pc:sldMkLst>
        <pc:graphicFrameChg chg="mod">
          <ac:chgData name="Divya Rank" userId="8a86f94f-bc51-45b1-baba-7f5d30607298" providerId="ADAL" clId="{12126C74-8380-4416-AB41-D42486FEE1A5}" dt="2025-06-13T11:24:42.441" v="445" actId="2710"/>
          <ac:graphicFrameMkLst>
            <pc:docMk/>
            <pc:sldMk cId="3370607659" sldId="1504"/>
            <ac:graphicFrameMk id="4" creationId="{46EF9EF4-6CE7-D863-FAE1-5F1008A6A553}"/>
          </ac:graphicFrameMkLst>
        </pc:graphicFrameChg>
      </pc:sldChg>
      <pc:sldChg chg="addSp modSp mod">
        <pc:chgData name="Divya Rank" userId="8a86f94f-bc51-45b1-baba-7f5d30607298" providerId="ADAL" clId="{12126C74-8380-4416-AB41-D42486FEE1A5}" dt="2025-06-13T14:01:21.147" v="4070" actId="1038"/>
        <pc:sldMkLst>
          <pc:docMk/>
          <pc:sldMk cId="2490475139" sldId="1505"/>
        </pc:sldMkLst>
        <pc:spChg chg="mod">
          <ac:chgData name="Divya Rank" userId="8a86f94f-bc51-45b1-baba-7f5d30607298" providerId="ADAL" clId="{12126C74-8380-4416-AB41-D42486FEE1A5}" dt="2025-06-13T14:01:21.147" v="4070" actId="1038"/>
          <ac:spMkLst>
            <pc:docMk/>
            <pc:sldMk cId="2490475139" sldId="1505"/>
            <ac:spMk id="2" creationId="{2A121973-2E2C-D5E1-C04F-12A88E9346D5}"/>
          </ac:spMkLst>
        </pc:spChg>
        <pc:spChg chg="mod">
          <ac:chgData name="Divya Rank" userId="8a86f94f-bc51-45b1-baba-7f5d30607298" providerId="ADAL" clId="{12126C74-8380-4416-AB41-D42486FEE1A5}" dt="2025-06-13T12:49:41.202" v="1320" actId="1076"/>
          <ac:spMkLst>
            <pc:docMk/>
            <pc:sldMk cId="2490475139" sldId="1505"/>
            <ac:spMk id="39" creationId="{772CA891-2104-6DBB-20A6-378E089EE3A7}"/>
          </ac:spMkLst>
        </pc:spChg>
        <pc:spChg chg="mod">
          <ac:chgData name="Divya Rank" userId="8a86f94f-bc51-45b1-baba-7f5d30607298" providerId="ADAL" clId="{12126C74-8380-4416-AB41-D42486FEE1A5}" dt="2025-06-13T12:49:17.190" v="1315" actId="255"/>
          <ac:spMkLst>
            <pc:docMk/>
            <pc:sldMk cId="2490475139" sldId="1505"/>
            <ac:spMk id="40" creationId="{F6C4A6B5-B578-93E0-F319-F5C333100C1B}"/>
          </ac:spMkLst>
        </pc:spChg>
        <pc:spChg chg="mod">
          <ac:chgData name="Divya Rank" userId="8a86f94f-bc51-45b1-baba-7f5d30607298" providerId="ADAL" clId="{12126C74-8380-4416-AB41-D42486FEE1A5}" dt="2025-06-13T12:49:48.037" v="1321" actId="1076"/>
          <ac:spMkLst>
            <pc:docMk/>
            <pc:sldMk cId="2490475139" sldId="1505"/>
            <ac:spMk id="41" creationId="{7C47AE17-1505-E860-DAA2-FE3365AC34FF}"/>
          </ac:spMkLst>
        </pc:spChg>
        <pc:spChg chg="mod">
          <ac:chgData name="Divya Rank" userId="8a86f94f-bc51-45b1-baba-7f5d30607298" providerId="ADAL" clId="{12126C74-8380-4416-AB41-D42486FEE1A5}" dt="2025-06-13T12:50:04.242" v="1325" actId="14100"/>
          <ac:spMkLst>
            <pc:docMk/>
            <pc:sldMk cId="2490475139" sldId="1505"/>
            <ac:spMk id="43" creationId="{8F1909F1-60C5-3515-8CEC-0C2AB1412AEA}"/>
          </ac:spMkLst>
        </pc:spChg>
        <pc:spChg chg="mod">
          <ac:chgData name="Divya Rank" userId="8a86f94f-bc51-45b1-baba-7f5d30607298" providerId="ADAL" clId="{12126C74-8380-4416-AB41-D42486FEE1A5}" dt="2025-06-13T12:50:12.534" v="1326" actId="1076"/>
          <ac:spMkLst>
            <pc:docMk/>
            <pc:sldMk cId="2490475139" sldId="1505"/>
            <ac:spMk id="44" creationId="{0976656F-D64B-DDF3-C64F-B31A1F35FBD4}"/>
          </ac:spMkLst>
        </pc:spChg>
        <pc:spChg chg="mod">
          <ac:chgData name="Divya Rank" userId="8a86f94f-bc51-45b1-baba-7f5d30607298" providerId="ADAL" clId="{12126C74-8380-4416-AB41-D42486FEE1A5}" dt="2025-06-13T12:49:55.910" v="1323" actId="1076"/>
          <ac:spMkLst>
            <pc:docMk/>
            <pc:sldMk cId="2490475139" sldId="1505"/>
            <ac:spMk id="45" creationId="{2EC0FFEF-C85D-500C-08B7-CE0E52DFE428}"/>
          </ac:spMkLst>
        </pc:spChg>
        <pc:grpChg chg="add">
          <ac:chgData name="Divya Rank" userId="8a86f94f-bc51-45b1-baba-7f5d30607298" providerId="ADAL" clId="{12126C74-8380-4416-AB41-D42486FEE1A5}" dt="2025-06-13T12:49:51.497" v="1322" actId="164"/>
          <ac:grpSpMkLst>
            <pc:docMk/>
            <pc:sldMk cId="2490475139" sldId="1505"/>
            <ac:grpSpMk id="5" creationId="{1B51BCC5-475E-0466-4ABE-28E56C3C65DC}"/>
          </ac:grpSpMkLst>
        </pc:grpChg>
        <pc:grpChg chg="add">
          <ac:chgData name="Divya Rank" userId="8a86f94f-bc51-45b1-baba-7f5d30607298" providerId="ADAL" clId="{12126C74-8380-4416-AB41-D42486FEE1A5}" dt="2025-06-13T12:50:19.533" v="1327" actId="164"/>
          <ac:grpSpMkLst>
            <pc:docMk/>
            <pc:sldMk cId="2490475139" sldId="1505"/>
            <ac:grpSpMk id="6" creationId="{C55B42C8-8FC6-83D8-D47B-052032EC889B}"/>
          </ac:grpSpMkLst>
        </pc:grpChg>
      </pc:sldChg>
      <pc:sldChg chg="addSp modSp mod modAnim">
        <pc:chgData name="Divya Rank" userId="8a86f94f-bc51-45b1-baba-7f5d30607298" providerId="ADAL" clId="{12126C74-8380-4416-AB41-D42486FEE1A5}" dt="2025-06-13T15:26:24.673" v="5776"/>
        <pc:sldMkLst>
          <pc:docMk/>
          <pc:sldMk cId="4200326097" sldId="1507"/>
        </pc:sldMkLst>
        <pc:spChg chg="mod">
          <ac:chgData name="Divya Rank" userId="8a86f94f-bc51-45b1-baba-7f5d30607298" providerId="ADAL" clId="{12126C74-8380-4416-AB41-D42486FEE1A5}" dt="2025-06-13T15:26:08.872" v="5771" actId="6549"/>
          <ac:spMkLst>
            <pc:docMk/>
            <pc:sldMk cId="4200326097" sldId="1507"/>
            <ac:spMk id="3" creationId="{2E207A2D-CA36-02D5-8547-4C65D1211EA7}"/>
          </ac:spMkLst>
        </pc:spChg>
        <pc:spChg chg="add mod">
          <ac:chgData name="Divya Rank" userId="8a86f94f-bc51-45b1-baba-7f5d30607298" providerId="ADAL" clId="{12126C74-8380-4416-AB41-D42486FEE1A5}" dt="2025-06-13T15:26:19.028" v="5775" actId="14100"/>
          <ac:spMkLst>
            <pc:docMk/>
            <pc:sldMk cId="4200326097" sldId="1507"/>
            <ac:spMk id="9" creationId="{93857382-0223-6848-C84C-BAE2FB096DF0}"/>
          </ac:spMkLst>
        </pc:spChg>
        <pc:picChg chg="add mod">
          <ac:chgData name="Divya Rank" userId="8a86f94f-bc51-45b1-baba-7f5d30607298" providerId="ADAL" clId="{12126C74-8380-4416-AB41-D42486FEE1A5}" dt="2025-06-13T15:25:22.646" v="5761" actId="34135"/>
          <ac:picMkLst>
            <pc:docMk/>
            <pc:sldMk cId="4200326097" sldId="1507"/>
            <ac:picMk id="4" creationId="{AF89F425-DFCC-FF75-7559-5BDADD624A8B}"/>
          </ac:picMkLst>
        </pc:picChg>
      </pc:sldChg>
      <pc:sldChg chg="addSp modSp mod modAnim">
        <pc:chgData name="Divya Rank" userId="8a86f94f-bc51-45b1-baba-7f5d30607298" providerId="ADAL" clId="{12126C74-8380-4416-AB41-D42486FEE1A5}" dt="2025-06-14T04:12:37.977" v="6074" actId="1035"/>
        <pc:sldMkLst>
          <pc:docMk/>
          <pc:sldMk cId="2849670523" sldId="1508"/>
        </pc:sldMkLst>
        <pc:spChg chg="mod">
          <ac:chgData name="Divya Rank" userId="8a86f94f-bc51-45b1-baba-7f5d30607298" providerId="ADAL" clId="{12126C74-8380-4416-AB41-D42486FEE1A5}" dt="2025-06-14T04:12:37.977" v="6074" actId="1035"/>
          <ac:spMkLst>
            <pc:docMk/>
            <pc:sldMk cId="2849670523" sldId="1508"/>
            <ac:spMk id="2" creationId="{2457E66D-3A0D-5B43-A387-9579E88307E4}"/>
          </ac:spMkLst>
        </pc:spChg>
        <pc:spChg chg="mod">
          <ac:chgData name="Divya Rank" userId="8a86f94f-bc51-45b1-baba-7f5d30607298" providerId="ADAL" clId="{12126C74-8380-4416-AB41-D42486FEE1A5}" dt="2025-06-13T15:25:32.876" v="5764" actId="20577"/>
          <ac:spMkLst>
            <pc:docMk/>
            <pc:sldMk cId="2849670523" sldId="1508"/>
            <ac:spMk id="3" creationId="{345E6D5A-BE4E-8F2B-D089-D2552B187793}"/>
          </ac:spMkLst>
        </pc:spChg>
        <pc:picChg chg="add mod">
          <ac:chgData name="Divya Rank" userId="8a86f94f-bc51-45b1-baba-7f5d30607298" providerId="ADAL" clId="{12126C74-8380-4416-AB41-D42486FEE1A5}" dt="2025-06-13T15:25:27.705" v="5763" actId="34135"/>
          <ac:picMkLst>
            <pc:docMk/>
            <pc:sldMk cId="2849670523" sldId="1508"/>
            <ac:picMk id="4" creationId="{42FDD896-F019-B222-1644-A6AAAC243765}"/>
          </ac:picMkLst>
        </pc:picChg>
      </pc:sldChg>
      <pc:sldChg chg="addSp delSp modSp mod">
        <pc:chgData name="Divya Rank" userId="8a86f94f-bc51-45b1-baba-7f5d30607298" providerId="ADAL" clId="{12126C74-8380-4416-AB41-D42486FEE1A5}" dt="2025-06-13T15:32:15.626" v="5856" actId="34135"/>
        <pc:sldMkLst>
          <pc:docMk/>
          <pc:sldMk cId="3142948251" sldId="1509"/>
        </pc:sldMkLst>
        <pc:spChg chg="mod">
          <ac:chgData name="Divya Rank" userId="8a86f94f-bc51-45b1-baba-7f5d30607298" providerId="ADAL" clId="{12126C74-8380-4416-AB41-D42486FEE1A5}" dt="2025-06-13T12:42:29.154" v="1211" actId="2711"/>
          <ac:spMkLst>
            <pc:docMk/>
            <pc:sldMk cId="3142948251" sldId="1509"/>
            <ac:spMk id="2" creationId="{08D58D26-850D-9B2F-F471-B0B9B79AC494}"/>
          </ac:spMkLst>
        </pc:spChg>
        <pc:spChg chg="mod">
          <ac:chgData name="Divya Rank" userId="8a86f94f-bc51-45b1-baba-7f5d30607298" providerId="ADAL" clId="{12126C74-8380-4416-AB41-D42486FEE1A5}" dt="2025-06-13T12:42:29.154" v="1211" actId="2711"/>
          <ac:spMkLst>
            <pc:docMk/>
            <pc:sldMk cId="3142948251" sldId="1509"/>
            <ac:spMk id="4" creationId="{C81324FD-719B-573A-0561-BA16D15C7D76}"/>
          </ac:spMkLst>
        </pc:spChg>
        <pc:spChg chg="mod">
          <ac:chgData name="Divya Rank" userId="8a86f94f-bc51-45b1-baba-7f5d30607298" providerId="ADAL" clId="{12126C74-8380-4416-AB41-D42486FEE1A5}" dt="2025-06-13T15:29:34.029" v="5815" actId="1076"/>
          <ac:spMkLst>
            <pc:docMk/>
            <pc:sldMk cId="3142948251" sldId="1509"/>
            <ac:spMk id="5" creationId="{977A20C0-DEB3-9ABD-6776-B04494994061}"/>
          </ac:spMkLst>
        </pc:spChg>
        <pc:spChg chg="mod">
          <ac:chgData name="Divya Rank" userId="8a86f94f-bc51-45b1-baba-7f5d30607298" providerId="ADAL" clId="{12126C74-8380-4416-AB41-D42486FEE1A5}" dt="2025-06-13T12:42:29.154" v="1211" actId="2711"/>
          <ac:spMkLst>
            <pc:docMk/>
            <pc:sldMk cId="3142948251" sldId="1509"/>
            <ac:spMk id="6" creationId="{CF605357-B1B8-075A-D2EC-A883FFB0C611}"/>
          </ac:spMkLst>
        </pc:spChg>
        <pc:spChg chg="mod">
          <ac:chgData name="Divya Rank" userId="8a86f94f-bc51-45b1-baba-7f5d30607298" providerId="ADAL" clId="{12126C74-8380-4416-AB41-D42486FEE1A5}" dt="2025-06-13T12:42:29.154" v="1211" actId="2711"/>
          <ac:spMkLst>
            <pc:docMk/>
            <pc:sldMk cId="3142948251" sldId="1509"/>
            <ac:spMk id="47" creationId="{104026CB-685C-5554-5CD7-FC9B8E8281BB}"/>
          </ac:spMkLst>
        </pc:spChg>
        <pc:picChg chg="add mod">
          <ac:chgData name="Divya Rank" userId="8a86f94f-bc51-45b1-baba-7f5d30607298" providerId="ADAL" clId="{12126C74-8380-4416-AB41-D42486FEE1A5}" dt="2025-06-13T15:32:15.626" v="5856" actId="34135"/>
          <ac:picMkLst>
            <pc:docMk/>
            <pc:sldMk cId="3142948251" sldId="1509"/>
            <ac:picMk id="8" creationId="{CA965B00-E549-5CA2-BEF8-20F4C6D693CC}"/>
          </ac:picMkLst>
        </pc:picChg>
      </pc:sldChg>
      <pc:sldChg chg="modSp mod">
        <pc:chgData name="Divya Rank" userId="8a86f94f-bc51-45b1-baba-7f5d30607298" providerId="ADAL" clId="{12126C74-8380-4416-AB41-D42486FEE1A5}" dt="2025-06-13T14:02:16.196" v="4074" actId="1036"/>
        <pc:sldMkLst>
          <pc:docMk/>
          <pc:sldMk cId="565224556" sldId="1510"/>
        </pc:sldMkLst>
        <pc:spChg chg="mod">
          <ac:chgData name="Divya Rank" userId="8a86f94f-bc51-45b1-baba-7f5d30607298" providerId="ADAL" clId="{12126C74-8380-4416-AB41-D42486FEE1A5}" dt="2025-06-13T14:02:16.196" v="4074" actId="1036"/>
          <ac:spMkLst>
            <pc:docMk/>
            <pc:sldMk cId="565224556" sldId="1510"/>
            <ac:spMk id="2" creationId="{1B5936FD-1434-8810-7AD4-09AF7C1B2FE1}"/>
          </ac:spMkLst>
        </pc:spChg>
        <pc:spChg chg="mod">
          <ac:chgData name="Divya Rank" userId="8a86f94f-bc51-45b1-baba-7f5d30607298" providerId="ADAL" clId="{12126C74-8380-4416-AB41-D42486FEE1A5}" dt="2025-06-13T11:27:59.803" v="496" actId="12"/>
          <ac:spMkLst>
            <pc:docMk/>
            <pc:sldMk cId="565224556" sldId="1510"/>
            <ac:spMk id="26" creationId="{E8AEDE0B-68E2-F25B-DA5B-AD580AC4059D}"/>
          </ac:spMkLst>
        </pc:spChg>
        <pc:spChg chg="mod">
          <ac:chgData name="Divya Rank" userId="8a86f94f-bc51-45b1-baba-7f5d30607298" providerId="ADAL" clId="{12126C74-8380-4416-AB41-D42486FEE1A5}" dt="2025-06-13T11:27:59.803" v="496" actId="12"/>
          <ac:spMkLst>
            <pc:docMk/>
            <pc:sldMk cId="565224556" sldId="1510"/>
            <ac:spMk id="27" creationId="{015A94DC-50BF-35AD-E1F2-F42C6078F762}"/>
          </ac:spMkLst>
        </pc:spChg>
        <pc:spChg chg="mod">
          <ac:chgData name="Divya Rank" userId="8a86f94f-bc51-45b1-baba-7f5d30607298" providerId="ADAL" clId="{12126C74-8380-4416-AB41-D42486FEE1A5}" dt="2025-06-13T11:27:59.803" v="496" actId="12"/>
          <ac:spMkLst>
            <pc:docMk/>
            <pc:sldMk cId="565224556" sldId="1510"/>
            <ac:spMk id="28" creationId="{382E3971-54BD-2740-7E1A-CA619237C507}"/>
          </ac:spMkLst>
        </pc:spChg>
        <pc:spChg chg="mod">
          <ac:chgData name="Divya Rank" userId="8a86f94f-bc51-45b1-baba-7f5d30607298" providerId="ADAL" clId="{12126C74-8380-4416-AB41-D42486FEE1A5}" dt="2025-06-13T11:27:59.803" v="496" actId="12"/>
          <ac:spMkLst>
            <pc:docMk/>
            <pc:sldMk cId="565224556" sldId="1510"/>
            <ac:spMk id="29" creationId="{20C83A05-7431-BEE0-7845-D4847786D369}"/>
          </ac:spMkLst>
        </pc:spChg>
        <pc:spChg chg="mod">
          <ac:chgData name="Divya Rank" userId="8a86f94f-bc51-45b1-baba-7f5d30607298" providerId="ADAL" clId="{12126C74-8380-4416-AB41-D42486FEE1A5}" dt="2025-06-13T10:37:17.131" v="289" actId="1035"/>
          <ac:spMkLst>
            <pc:docMk/>
            <pc:sldMk cId="565224556" sldId="1510"/>
            <ac:spMk id="32" creationId="{374D309F-CD6F-0C6D-9198-F0D586FC248F}"/>
          </ac:spMkLst>
        </pc:spChg>
        <pc:spChg chg="mod">
          <ac:chgData name="Divya Rank" userId="8a86f94f-bc51-45b1-baba-7f5d30607298" providerId="ADAL" clId="{12126C74-8380-4416-AB41-D42486FEE1A5}" dt="2025-06-13T11:29:14.089" v="501" actId="12"/>
          <ac:spMkLst>
            <pc:docMk/>
            <pc:sldMk cId="565224556" sldId="1510"/>
            <ac:spMk id="46" creationId="{029EB036-DE4B-D17B-97D6-0C65F99BCBAF}"/>
          </ac:spMkLst>
        </pc:spChg>
        <pc:spChg chg="mod">
          <ac:chgData name="Divya Rank" userId="8a86f94f-bc51-45b1-baba-7f5d30607298" providerId="ADAL" clId="{12126C74-8380-4416-AB41-D42486FEE1A5}" dt="2025-06-13T11:29:14.089" v="501" actId="12"/>
          <ac:spMkLst>
            <pc:docMk/>
            <pc:sldMk cId="565224556" sldId="1510"/>
            <ac:spMk id="47" creationId="{E80F7DEE-5E01-4FA5-611A-92EDAD1CDF52}"/>
          </ac:spMkLst>
        </pc:spChg>
        <pc:spChg chg="mod">
          <ac:chgData name="Divya Rank" userId="8a86f94f-bc51-45b1-baba-7f5d30607298" providerId="ADAL" clId="{12126C74-8380-4416-AB41-D42486FEE1A5}" dt="2025-06-13T11:29:14.089" v="501" actId="12"/>
          <ac:spMkLst>
            <pc:docMk/>
            <pc:sldMk cId="565224556" sldId="1510"/>
            <ac:spMk id="48" creationId="{2027C020-6871-641C-7E0A-701363304B38}"/>
          </ac:spMkLst>
        </pc:spChg>
        <pc:spChg chg="mod">
          <ac:chgData name="Divya Rank" userId="8a86f94f-bc51-45b1-baba-7f5d30607298" providerId="ADAL" clId="{12126C74-8380-4416-AB41-D42486FEE1A5}" dt="2025-06-13T11:29:14.089" v="501" actId="12"/>
          <ac:spMkLst>
            <pc:docMk/>
            <pc:sldMk cId="565224556" sldId="1510"/>
            <ac:spMk id="49" creationId="{F854A733-0640-5EEC-0FCC-463927B2A902}"/>
          </ac:spMkLst>
        </pc:spChg>
        <pc:spChg chg="mod">
          <ac:chgData name="Divya Rank" userId="8a86f94f-bc51-45b1-baba-7f5d30607298" providerId="ADAL" clId="{12126C74-8380-4416-AB41-D42486FEE1A5}" dt="2025-06-13T10:31:36.480" v="270" actId="12"/>
          <ac:spMkLst>
            <pc:docMk/>
            <pc:sldMk cId="565224556" sldId="1510"/>
            <ac:spMk id="50" creationId="{89078B07-FC63-F6A7-CA88-473149A242FB}"/>
          </ac:spMkLst>
        </pc:spChg>
        <pc:spChg chg="mod">
          <ac:chgData name="Divya Rank" userId="8a86f94f-bc51-45b1-baba-7f5d30607298" providerId="ADAL" clId="{12126C74-8380-4416-AB41-D42486FEE1A5}" dt="2025-06-13T11:28:48.969" v="499" actId="12"/>
          <ac:spMkLst>
            <pc:docMk/>
            <pc:sldMk cId="565224556" sldId="1510"/>
            <ac:spMk id="53" creationId="{71B12630-8D6C-1EBE-5626-4ED31E026B0E}"/>
          </ac:spMkLst>
        </pc:spChg>
        <pc:spChg chg="mod">
          <ac:chgData name="Divya Rank" userId="8a86f94f-bc51-45b1-baba-7f5d30607298" providerId="ADAL" clId="{12126C74-8380-4416-AB41-D42486FEE1A5}" dt="2025-06-13T11:28:48.969" v="499" actId="12"/>
          <ac:spMkLst>
            <pc:docMk/>
            <pc:sldMk cId="565224556" sldId="1510"/>
            <ac:spMk id="54" creationId="{A8064341-1F6B-DD00-6081-ADE74F8D79EE}"/>
          </ac:spMkLst>
        </pc:spChg>
        <pc:spChg chg="mod">
          <ac:chgData name="Divya Rank" userId="8a86f94f-bc51-45b1-baba-7f5d30607298" providerId="ADAL" clId="{12126C74-8380-4416-AB41-D42486FEE1A5}" dt="2025-06-13T11:28:48.969" v="499" actId="12"/>
          <ac:spMkLst>
            <pc:docMk/>
            <pc:sldMk cId="565224556" sldId="1510"/>
            <ac:spMk id="55" creationId="{4A5AC74B-32C0-2B84-EFFF-B7EC464DB1E1}"/>
          </ac:spMkLst>
        </pc:spChg>
        <pc:spChg chg="mod">
          <ac:chgData name="Divya Rank" userId="8a86f94f-bc51-45b1-baba-7f5d30607298" providerId="ADAL" clId="{12126C74-8380-4416-AB41-D42486FEE1A5}" dt="2025-06-13T11:28:48.969" v="499" actId="12"/>
          <ac:spMkLst>
            <pc:docMk/>
            <pc:sldMk cId="565224556" sldId="1510"/>
            <ac:spMk id="56" creationId="{4D1D6B5D-6209-945F-F58B-0EF0F9EC1CFD}"/>
          </ac:spMkLst>
        </pc:spChg>
        <pc:spChg chg="mod">
          <ac:chgData name="Divya Rank" userId="8a86f94f-bc51-45b1-baba-7f5d30607298" providerId="ADAL" clId="{12126C74-8380-4416-AB41-D42486FEE1A5}" dt="2025-06-13T11:29:27.444" v="502" actId="12"/>
          <ac:spMkLst>
            <pc:docMk/>
            <pc:sldMk cId="565224556" sldId="1510"/>
            <ac:spMk id="62" creationId="{E387BDB4-63D9-8059-6F3A-8B33FAA88315}"/>
          </ac:spMkLst>
        </pc:spChg>
        <pc:spChg chg="mod">
          <ac:chgData name="Divya Rank" userId="8a86f94f-bc51-45b1-baba-7f5d30607298" providerId="ADAL" clId="{12126C74-8380-4416-AB41-D42486FEE1A5}" dt="2025-06-13T11:29:27.444" v="502" actId="12"/>
          <ac:spMkLst>
            <pc:docMk/>
            <pc:sldMk cId="565224556" sldId="1510"/>
            <ac:spMk id="63" creationId="{4EE95D18-CA28-88F5-0AB9-9AB6CEC9C253}"/>
          </ac:spMkLst>
        </pc:spChg>
        <pc:spChg chg="mod">
          <ac:chgData name="Divya Rank" userId="8a86f94f-bc51-45b1-baba-7f5d30607298" providerId="ADAL" clId="{12126C74-8380-4416-AB41-D42486FEE1A5}" dt="2025-06-13T11:29:27.444" v="502" actId="12"/>
          <ac:spMkLst>
            <pc:docMk/>
            <pc:sldMk cId="565224556" sldId="1510"/>
            <ac:spMk id="128" creationId="{92A8B9B9-48C8-0E50-661A-1B4ABDF488FB}"/>
          </ac:spMkLst>
        </pc:spChg>
        <pc:spChg chg="mod">
          <ac:chgData name="Divya Rank" userId="8a86f94f-bc51-45b1-baba-7f5d30607298" providerId="ADAL" clId="{12126C74-8380-4416-AB41-D42486FEE1A5}" dt="2025-06-13T11:29:27.444" v="502" actId="12"/>
          <ac:spMkLst>
            <pc:docMk/>
            <pc:sldMk cId="565224556" sldId="1510"/>
            <ac:spMk id="129" creationId="{49E7AEA4-B299-E75C-9D56-CCDE04886D01}"/>
          </ac:spMkLst>
        </pc:spChg>
        <pc:grpChg chg="mod">
          <ac:chgData name="Divya Rank" userId="8a86f94f-bc51-45b1-baba-7f5d30607298" providerId="ADAL" clId="{12126C74-8380-4416-AB41-D42486FEE1A5}" dt="2025-06-13T10:38:02.441" v="294" actId="1076"/>
          <ac:grpSpMkLst>
            <pc:docMk/>
            <pc:sldMk cId="565224556" sldId="1510"/>
            <ac:grpSpMk id="132" creationId="{C98A18AA-33CB-6D88-7CB7-9D28A26F74B8}"/>
          </ac:grpSpMkLst>
        </pc:grpChg>
        <pc:grpChg chg="mod">
          <ac:chgData name="Divya Rank" userId="8a86f94f-bc51-45b1-baba-7f5d30607298" providerId="ADAL" clId="{12126C74-8380-4416-AB41-D42486FEE1A5}" dt="2025-06-13T10:38:08.022" v="295" actId="1076"/>
          <ac:grpSpMkLst>
            <pc:docMk/>
            <pc:sldMk cId="565224556" sldId="1510"/>
            <ac:grpSpMk id="133" creationId="{D3247AE2-D1AE-D629-4F72-7CBCB566545C}"/>
          </ac:grpSpMkLst>
        </pc:grpChg>
        <pc:grpChg chg="mod">
          <ac:chgData name="Divya Rank" userId="8a86f94f-bc51-45b1-baba-7f5d30607298" providerId="ADAL" clId="{12126C74-8380-4416-AB41-D42486FEE1A5}" dt="2025-06-13T10:38:27.297" v="297" actId="1076"/>
          <ac:grpSpMkLst>
            <pc:docMk/>
            <pc:sldMk cId="565224556" sldId="1510"/>
            <ac:grpSpMk id="134" creationId="{6B737CDB-55CD-582F-804D-277BDACEE76F}"/>
          </ac:grpSpMkLst>
        </pc:grpChg>
        <pc:grpChg chg="mod">
          <ac:chgData name="Divya Rank" userId="8a86f94f-bc51-45b1-baba-7f5d30607298" providerId="ADAL" clId="{12126C74-8380-4416-AB41-D42486FEE1A5}" dt="2025-06-13T10:38:13.250" v="296" actId="1076"/>
          <ac:grpSpMkLst>
            <pc:docMk/>
            <pc:sldMk cId="565224556" sldId="1510"/>
            <ac:grpSpMk id="135" creationId="{D719671A-F491-28E9-E796-0B8F9AB494BE}"/>
          </ac:grpSpMkLst>
        </pc:grpChg>
        <pc:picChg chg="mod">
          <ac:chgData name="Divya Rank" userId="8a86f94f-bc51-45b1-baba-7f5d30607298" providerId="ADAL" clId="{12126C74-8380-4416-AB41-D42486FEE1A5}" dt="2025-06-13T10:37:17.131" v="289" actId="1035"/>
          <ac:picMkLst>
            <pc:docMk/>
            <pc:sldMk cId="565224556" sldId="1510"/>
            <ac:picMk id="31" creationId="{A81A64D0-0102-5B85-97AA-9D324A6A5665}"/>
          </ac:picMkLst>
        </pc:picChg>
      </pc:sldChg>
      <pc:sldChg chg="addSp delSp modSp mod">
        <pc:chgData name="Divya Rank" userId="8a86f94f-bc51-45b1-baba-7f5d30607298" providerId="ADAL" clId="{12126C74-8380-4416-AB41-D42486FEE1A5}" dt="2025-06-13T13:00:46.093" v="1547" actId="14100"/>
        <pc:sldMkLst>
          <pc:docMk/>
          <pc:sldMk cId="117637490" sldId="1511"/>
        </pc:sldMkLst>
        <pc:spChg chg="add del">
          <ac:chgData name="Divya Rank" userId="8a86f94f-bc51-45b1-baba-7f5d30607298" providerId="ADAL" clId="{12126C74-8380-4416-AB41-D42486FEE1A5}" dt="2025-06-13T12:59:26.006" v="1512" actId="21"/>
          <ac:spMkLst>
            <pc:docMk/>
            <pc:sldMk cId="117637490" sldId="1511"/>
            <ac:spMk id="2" creationId="{60C968A0-D78A-29BD-D370-62067E1C3BF7}"/>
          </ac:spMkLst>
        </pc:spChg>
        <pc:spChg chg="add del mod">
          <ac:chgData name="Divya Rank" userId="8a86f94f-bc51-45b1-baba-7f5d30607298" providerId="ADAL" clId="{12126C74-8380-4416-AB41-D42486FEE1A5}" dt="2025-06-13T12:59:26.006" v="1512" actId="21"/>
          <ac:spMkLst>
            <pc:docMk/>
            <pc:sldMk cId="117637490" sldId="1511"/>
            <ac:spMk id="3" creationId="{E508E9C2-DF45-5794-27BE-B086276B6E1D}"/>
          </ac:spMkLst>
        </pc:spChg>
        <pc:spChg chg="add del mod">
          <ac:chgData name="Divya Rank" userId="8a86f94f-bc51-45b1-baba-7f5d30607298" providerId="ADAL" clId="{12126C74-8380-4416-AB41-D42486FEE1A5}" dt="2025-06-13T12:59:26.006" v="1512" actId="21"/>
          <ac:spMkLst>
            <pc:docMk/>
            <pc:sldMk cId="117637490" sldId="1511"/>
            <ac:spMk id="4" creationId="{A34D0E4B-0102-B999-0FA0-5B07DBFD101E}"/>
          </ac:spMkLst>
        </pc:spChg>
        <pc:spChg chg="add del mod">
          <ac:chgData name="Divya Rank" userId="8a86f94f-bc51-45b1-baba-7f5d30607298" providerId="ADAL" clId="{12126C74-8380-4416-AB41-D42486FEE1A5}" dt="2025-06-13T13:00:33.582" v="1546" actId="255"/>
          <ac:spMkLst>
            <pc:docMk/>
            <pc:sldMk cId="117637490" sldId="1511"/>
            <ac:spMk id="7" creationId="{53B29A34-FBED-8AFF-FF33-EB73C46E3315}"/>
          </ac:spMkLst>
        </pc:spChg>
        <pc:spChg chg="add del">
          <ac:chgData name="Divya Rank" userId="8a86f94f-bc51-45b1-baba-7f5d30607298" providerId="ADAL" clId="{12126C74-8380-4416-AB41-D42486FEE1A5}" dt="2025-06-13T12:59:26.006" v="1512" actId="21"/>
          <ac:spMkLst>
            <pc:docMk/>
            <pc:sldMk cId="117637490" sldId="1511"/>
            <ac:spMk id="8" creationId="{FFC11FD4-979E-1964-BAA2-8E5DFD660CB8}"/>
          </ac:spMkLst>
        </pc:spChg>
        <pc:spChg chg="mod">
          <ac:chgData name="Divya Rank" userId="8a86f94f-bc51-45b1-baba-7f5d30607298" providerId="ADAL" clId="{12126C74-8380-4416-AB41-D42486FEE1A5}" dt="2025-06-13T13:00:46.093" v="1547" actId="14100"/>
          <ac:spMkLst>
            <pc:docMk/>
            <pc:sldMk cId="117637490" sldId="1511"/>
            <ac:spMk id="10" creationId="{23654ED5-6A69-3992-A037-CDD3A1445918}"/>
          </ac:spMkLst>
        </pc:spChg>
        <pc:spChg chg="mod">
          <ac:chgData name="Divya Rank" userId="8a86f94f-bc51-45b1-baba-7f5d30607298" providerId="ADAL" clId="{12126C74-8380-4416-AB41-D42486FEE1A5}" dt="2025-06-13T13:00:05.397" v="1539"/>
          <ac:spMkLst>
            <pc:docMk/>
            <pc:sldMk cId="117637490" sldId="1511"/>
            <ac:spMk id="11" creationId="{38F3254B-0526-C03E-DA45-52691F6F1561}"/>
          </ac:spMkLst>
        </pc:spChg>
        <pc:spChg chg="mod">
          <ac:chgData name="Divya Rank" userId="8a86f94f-bc51-45b1-baba-7f5d30607298" providerId="ADAL" clId="{12126C74-8380-4416-AB41-D42486FEE1A5}" dt="2025-06-13T12:59:27.971" v="1513" actId="21"/>
          <ac:spMkLst>
            <pc:docMk/>
            <pc:sldMk cId="117637490" sldId="1511"/>
            <ac:spMk id="13" creationId="{4C3922D9-EF0D-F430-CA51-1815EB4C1DA9}"/>
          </ac:spMkLst>
        </pc:spChg>
        <pc:spChg chg="mod">
          <ac:chgData name="Divya Rank" userId="8a86f94f-bc51-45b1-baba-7f5d30607298" providerId="ADAL" clId="{12126C74-8380-4416-AB41-D42486FEE1A5}" dt="2025-06-13T12:59:20.413" v="1508"/>
          <ac:spMkLst>
            <pc:docMk/>
            <pc:sldMk cId="117637490" sldId="1511"/>
            <ac:spMk id="14" creationId="{A3447255-4BB2-C7DA-28E6-60928CD68414}"/>
          </ac:spMkLst>
        </pc:spChg>
        <pc:spChg chg="mod">
          <ac:chgData name="Divya Rank" userId="8a86f94f-bc51-45b1-baba-7f5d30607298" providerId="ADAL" clId="{12126C74-8380-4416-AB41-D42486FEE1A5}" dt="2025-06-13T12:59:37.712" v="1521" actId="21"/>
          <ac:spMkLst>
            <pc:docMk/>
            <pc:sldMk cId="117637490" sldId="1511"/>
            <ac:spMk id="16" creationId="{3D863667-53AC-56FE-49CD-EBDA8ECC95E2}"/>
          </ac:spMkLst>
        </pc:spChg>
        <pc:spChg chg="mod">
          <ac:chgData name="Divya Rank" userId="8a86f94f-bc51-45b1-baba-7f5d30607298" providerId="ADAL" clId="{12126C74-8380-4416-AB41-D42486FEE1A5}" dt="2025-06-13T12:59:36.217" v="1519"/>
          <ac:spMkLst>
            <pc:docMk/>
            <pc:sldMk cId="117637490" sldId="1511"/>
            <ac:spMk id="17" creationId="{E70077E0-85BF-EF6B-CBF7-321BA74599B4}"/>
          </ac:spMkLst>
        </pc:spChg>
        <pc:spChg chg="add del">
          <ac:chgData name="Divya Rank" userId="8a86f94f-bc51-45b1-baba-7f5d30607298" providerId="ADAL" clId="{12126C74-8380-4416-AB41-D42486FEE1A5}" dt="2025-06-13T12:59:26.006" v="1512" actId="21"/>
          <ac:spMkLst>
            <pc:docMk/>
            <pc:sldMk cId="117637490" sldId="1511"/>
            <ac:spMk id="18" creationId="{B86D6268-1F79-477B-8433-2FA2DF6426F2}"/>
          </ac:spMkLst>
        </pc:spChg>
        <pc:spChg chg="mod">
          <ac:chgData name="Divya Rank" userId="8a86f94f-bc51-45b1-baba-7f5d30607298" providerId="ADAL" clId="{12126C74-8380-4416-AB41-D42486FEE1A5}" dt="2025-06-13T12:59:50.616" v="1529" actId="21"/>
          <ac:spMkLst>
            <pc:docMk/>
            <pc:sldMk cId="117637490" sldId="1511"/>
            <ac:spMk id="31" creationId="{F63F91E5-9F61-0D56-C4C8-2976625CD6C3}"/>
          </ac:spMkLst>
        </pc:spChg>
        <pc:spChg chg="mod">
          <ac:chgData name="Divya Rank" userId="8a86f94f-bc51-45b1-baba-7f5d30607298" providerId="ADAL" clId="{12126C74-8380-4416-AB41-D42486FEE1A5}" dt="2025-06-13T12:59:46.174" v="1527"/>
          <ac:spMkLst>
            <pc:docMk/>
            <pc:sldMk cId="117637490" sldId="1511"/>
            <ac:spMk id="32" creationId="{9617A680-BDDE-D930-6FF1-F939F5989FD2}"/>
          </ac:spMkLst>
        </pc:spChg>
        <pc:spChg chg="add del">
          <ac:chgData name="Divya Rank" userId="8a86f94f-bc51-45b1-baba-7f5d30607298" providerId="ADAL" clId="{12126C74-8380-4416-AB41-D42486FEE1A5}" dt="2025-06-13T12:59:26.006" v="1512" actId="21"/>
          <ac:spMkLst>
            <pc:docMk/>
            <pc:sldMk cId="117637490" sldId="1511"/>
            <ac:spMk id="47" creationId="{24AD5E4E-D9CC-839C-69CF-D80974A6FFDB}"/>
          </ac:spMkLst>
        </pc:spChg>
        <pc:grpChg chg="mod">
          <ac:chgData name="Divya Rank" userId="8a86f94f-bc51-45b1-baba-7f5d30607298" providerId="ADAL" clId="{12126C74-8380-4416-AB41-D42486FEE1A5}" dt="2025-06-13T13:00:27.988" v="1545" actId="1076"/>
          <ac:grpSpMkLst>
            <pc:docMk/>
            <pc:sldMk cId="117637490" sldId="1511"/>
            <ac:grpSpMk id="5" creationId="{2C5527D3-5EB0-32D1-0A11-B370C6B41525}"/>
          </ac:grpSpMkLst>
        </pc:grpChg>
        <pc:grpChg chg="del mod">
          <ac:chgData name="Divya Rank" userId="8a86f94f-bc51-45b1-baba-7f5d30607298" providerId="ADAL" clId="{12126C74-8380-4416-AB41-D42486FEE1A5}" dt="2025-06-13T12:59:24.989" v="1511" actId="21"/>
          <ac:grpSpMkLst>
            <pc:docMk/>
            <pc:sldMk cId="117637490" sldId="1511"/>
            <ac:grpSpMk id="19" creationId="{D7C3D479-B771-8D16-2404-EB2C3B3EE8A3}"/>
          </ac:grpSpMkLst>
        </pc:grpChg>
        <pc:grpChg chg="mod">
          <ac:chgData name="Divya Rank" userId="8a86f94f-bc51-45b1-baba-7f5d30607298" providerId="ADAL" clId="{12126C74-8380-4416-AB41-D42486FEE1A5}" dt="2025-06-13T12:59:36.217" v="1519"/>
          <ac:grpSpMkLst>
            <pc:docMk/>
            <pc:sldMk cId="117637490" sldId="1511"/>
            <ac:grpSpMk id="20" creationId="{71439351-2FD3-6ED0-29B4-799850DF84A7}"/>
          </ac:grpSpMkLst>
        </pc:grpChg>
        <pc:grpChg chg="mod">
          <ac:chgData name="Divya Rank" userId="8a86f94f-bc51-45b1-baba-7f5d30607298" providerId="ADAL" clId="{12126C74-8380-4416-AB41-D42486FEE1A5}" dt="2025-06-13T12:59:46.174" v="1527"/>
          <ac:grpSpMkLst>
            <pc:docMk/>
            <pc:sldMk cId="117637490" sldId="1511"/>
            <ac:grpSpMk id="21" creationId="{D06CC82F-CFB6-FB3E-31F6-29266019891F}"/>
          </ac:grpSpMkLst>
        </pc:grpChg>
        <pc:picChg chg="add del">
          <ac:chgData name="Divya Rank" userId="8a86f94f-bc51-45b1-baba-7f5d30607298" providerId="ADAL" clId="{12126C74-8380-4416-AB41-D42486FEE1A5}" dt="2025-06-13T12:59:26.006" v="1512" actId="21"/>
          <ac:picMkLst>
            <pc:docMk/>
            <pc:sldMk cId="117637490" sldId="1511"/>
            <ac:picMk id="24" creationId="{3A85F482-398E-6E90-D092-23F93521B49F}"/>
          </ac:picMkLst>
        </pc:picChg>
      </pc:sldChg>
      <pc:sldChg chg="addSp delSp modSp mod">
        <pc:chgData name="Divya Rank" userId="8a86f94f-bc51-45b1-baba-7f5d30607298" providerId="ADAL" clId="{12126C74-8380-4416-AB41-D42486FEE1A5}" dt="2025-06-13T13:03:19.913" v="1638" actId="1036"/>
        <pc:sldMkLst>
          <pc:docMk/>
          <pc:sldMk cId="1876151764" sldId="1512"/>
        </pc:sldMkLst>
        <pc:spChg chg="mod">
          <ac:chgData name="Divya Rank" userId="8a86f94f-bc51-45b1-baba-7f5d30607298" providerId="ADAL" clId="{12126C74-8380-4416-AB41-D42486FEE1A5}" dt="2025-06-13T13:01:05.672" v="1551" actId="1036"/>
          <ac:spMkLst>
            <pc:docMk/>
            <pc:sldMk cId="1876151764" sldId="1512"/>
            <ac:spMk id="8" creationId="{DFD2077F-8FF9-5780-9475-BF2886A65EAB}"/>
          </ac:spMkLst>
        </pc:spChg>
        <pc:spChg chg="mod">
          <ac:chgData name="Divya Rank" userId="8a86f94f-bc51-45b1-baba-7f5d30607298" providerId="ADAL" clId="{12126C74-8380-4416-AB41-D42486FEE1A5}" dt="2025-06-13T13:02:48.376" v="1592" actId="255"/>
          <ac:spMkLst>
            <pc:docMk/>
            <pc:sldMk cId="1876151764" sldId="1512"/>
            <ac:spMk id="19" creationId="{7BC8B357-DEBC-9185-F304-D1537F79CA47}"/>
          </ac:spMkLst>
        </pc:spChg>
        <pc:spChg chg="mod">
          <ac:chgData name="Divya Rank" userId="8a86f94f-bc51-45b1-baba-7f5d30607298" providerId="ADAL" clId="{12126C74-8380-4416-AB41-D42486FEE1A5}" dt="2025-06-13T13:02:42.500" v="1591" actId="1076"/>
          <ac:spMkLst>
            <pc:docMk/>
            <pc:sldMk cId="1876151764" sldId="1512"/>
            <ac:spMk id="20" creationId="{C7547C04-D6B8-2248-8E4B-7A8CFE4D633E}"/>
          </ac:spMkLst>
        </pc:spChg>
        <pc:spChg chg="mod">
          <ac:chgData name="Divya Rank" userId="8a86f94f-bc51-45b1-baba-7f5d30607298" providerId="ADAL" clId="{12126C74-8380-4416-AB41-D42486FEE1A5}" dt="2025-06-13T13:01:52.475" v="1576" actId="21"/>
          <ac:spMkLst>
            <pc:docMk/>
            <pc:sldMk cId="1876151764" sldId="1512"/>
            <ac:spMk id="23" creationId="{1EE949D6-5EA5-8188-0381-3AECC7BAE406}"/>
          </ac:spMkLst>
        </pc:spChg>
        <pc:spChg chg="mod">
          <ac:chgData name="Divya Rank" userId="8a86f94f-bc51-45b1-baba-7f5d30607298" providerId="ADAL" clId="{12126C74-8380-4416-AB41-D42486FEE1A5}" dt="2025-06-13T13:01:29.960" v="1560" actId="21"/>
          <ac:spMkLst>
            <pc:docMk/>
            <pc:sldMk cId="1876151764" sldId="1512"/>
            <ac:spMk id="25" creationId="{24435DEC-A1EC-F5A2-2C74-D2AF784FCD00}"/>
          </ac:spMkLst>
        </pc:spChg>
        <pc:spChg chg="mod">
          <ac:chgData name="Divya Rank" userId="8a86f94f-bc51-45b1-baba-7f5d30607298" providerId="ADAL" clId="{12126C74-8380-4416-AB41-D42486FEE1A5}" dt="2025-06-13T13:02:48.376" v="1592" actId="255"/>
          <ac:spMkLst>
            <pc:docMk/>
            <pc:sldMk cId="1876151764" sldId="1512"/>
            <ac:spMk id="29" creationId="{C719C333-C729-F62A-C068-64435D6711AF}"/>
          </ac:spMkLst>
        </pc:spChg>
        <pc:spChg chg="mod">
          <ac:chgData name="Divya Rank" userId="8a86f94f-bc51-45b1-baba-7f5d30607298" providerId="ADAL" clId="{12126C74-8380-4416-AB41-D42486FEE1A5}" dt="2025-06-13T13:02:42.500" v="1591" actId="1076"/>
          <ac:spMkLst>
            <pc:docMk/>
            <pc:sldMk cId="1876151764" sldId="1512"/>
            <ac:spMk id="37" creationId="{51C6752E-C9C6-C5F2-259E-356007668926}"/>
          </ac:spMkLst>
        </pc:spChg>
        <pc:spChg chg="mod">
          <ac:chgData name="Divya Rank" userId="8a86f94f-bc51-45b1-baba-7f5d30607298" providerId="ADAL" clId="{12126C74-8380-4416-AB41-D42486FEE1A5}" dt="2025-06-13T13:01:40.968" v="1567" actId="21"/>
          <ac:spMkLst>
            <pc:docMk/>
            <pc:sldMk cId="1876151764" sldId="1512"/>
            <ac:spMk id="42" creationId="{FA8D8E39-86B9-4AE9-3E77-E79124B884B8}"/>
          </ac:spMkLst>
        </pc:spChg>
        <pc:grpChg chg="add mod">
          <ac:chgData name="Divya Rank" userId="8a86f94f-bc51-45b1-baba-7f5d30607298" providerId="ADAL" clId="{12126C74-8380-4416-AB41-D42486FEE1A5}" dt="2025-06-13T13:03:19.913" v="1638" actId="1036"/>
          <ac:grpSpMkLst>
            <pc:docMk/>
            <pc:sldMk cId="1876151764" sldId="1512"/>
            <ac:grpSpMk id="5" creationId="{FC0A752A-6BA4-6564-F584-CE8058535880}"/>
          </ac:grpSpMkLst>
        </pc:grpChg>
        <pc:grpChg chg="add mod">
          <ac:chgData name="Divya Rank" userId="8a86f94f-bc51-45b1-baba-7f5d30607298" providerId="ADAL" clId="{12126C74-8380-4416-AB41-D42486FEE1A5}" dt="2025-06-13T13:03:19.913" v="1638" actId="1036"/>
          <ac:grpSpMkLst>
            <pc:docMk/>
            <pc:sldMk cId="1876151764" sldId="1512"/>
            <ac:grpSpMk id="6" creationId="{0169CFAF-F8DD-7FAD-6BCE-1F651B6B73DF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5:25:09.530" v="5759" actId="1038"/>
        <pc:sldMkLst>
          <pc:docMk/>
          <pc:sldMk cId="403333356" sldId="1513"/>
        </pc:sldMkLst>
        <pc:spChg chg="mod">
          <ac:chgData name="Divya Rank" userId="8a86f94f-bc51-45b1-baba-7f5d30607298" providerId="ADAL" clId="{12126C74-8380-4416-AB41-D42486FEE1A5}" dt="2025-06-13T15:25:04.183" v="5750" actId="122"/>
          <ac:spMkLst>
            <pc:docMk/>
            <pc:sldMk cId="403333356" sldId="1513"/>
            <ac:spMk id="19" creationId="{7B0D6B07-02A0-40B7-8F62-DFF54C666FBE}"/>
          </ac:spMkLst>
        </pc:spChg>
        <pc:spChg chg="mod">
          <ac:chgData name="Divya Rank" userId="8a86f94f-bc51-45b1-baba-7f5d30607298" providerId="ADAL" clId="{12126C74-8380-4416-AB41-D42486FEE1A5}" dt="2025-06-13T15:25:09.530" v="5759" actId="1038"/>
          <ac:spMkLst>
            <pc:docMk/>
            <pc:sldMk cId="403333356" sldId="1513"/>
            <ac:spMk id="20" creationId="{5F0F8C2E-BB4C-4C2D-9EAF-56E013ADD30C}"/>
          </ac:spMkLst>
        </pc:spChg>
        <pc:spChg chg="mod">
          <ac:chgData name="Divya Rank" userId="8a86f94f-bc51-45b1-baba-7f5d30607298" providerId="ADAL" clId="{12126C74-8380-4416-AB41-D42486FEE1A5}" dt="2025-06-13T13:00:57.811" v="1548" actId="1035"/>
          <ac:spMkLst>
            <pc:docMk/>
            <pc:sldMk cId="403333356" sldId="1513"/>
            <ac:spMk id="32" creationId="{05BF3A56-7AAD-911A-49AC-9A1205716496}"/>
          </ac:spMkLst>
        </pc:spChg>
        <pc:spChg chg="mod">
          <ac:chgData name="Divya Rank" userId="8a86f94f-bc51-45b1-baba-7f5d30607298" providerId="ADAL" clId="{12126C74-8380-4416-AB41-D42486FEE1A5}" dt="2025-06-13T13:07:29.755" v="1711" actId="21"/>
          <ac:spMkLst>
            <pc:docMk/>
            <pc:sldMk cId="403333356" sldId="1513"/>
            <ac:spMk id="34" creationId="{78959340-10AF-193D-D914-347601AF235F}"/>
          </ac:spMkLst>
        </pc:spChg>
        <pc:spChg chg="mod">
          <ac:chgData name="Divya Rank" userId="8a86f94f-bc51-45b1-baba-7f5d30607298" providerId="ADAL" clId="{12126C74-8380-4416-AB41-D42486FEE1A5}" dt="2025-06-13T13:07:36.671" v="1713" actId="21"/>
          <ac:spMkLst>
            <pc:docMk/>
            <pc:sldMk cId="403333356" sldId="1513"/>
            <ac:spMk id="35" creationId="{DB57B007-6BB4-698E-F7CD-B99C8BFAAED4}"/>
          </ac:spMkLst>
        </pc:spChg>
        <pc:spChg chg="mod">
          <ac:chgData name="Divya Rank" userId="8a86f94f-bc51-45b1-baba-7f5d30607298" providerId="ADAL" clId="{12126C74-8380-4416-AB41-D42486FEE1A5}" dt="2025-06-13T13:07:48.332" v="1717" actId="21"/>
          <ac:spMkLst>
            <pc:docMk/>
            <pc:sldMk cId="403333356" sldId="1513"/>
            <ac:spMk id="57" creationId="{E7CB4BC8-6342-06A5-33AE-7D8D35B2B739}"/>
          </ac:spMkLst>
        </pc:spChg>
        <pc:spChg chg="mod">
          <ac:chgData name="Divya Rank" userId="8a86f94f-bc51-45b1-baba-7f5d30607298" providerId="ADAL" clId="{12126C74-8380-4416-AB41-D42486FEE1A5}" dt="2025-06-13T13:07:57.368" v="1721" actId="21"/>
          <ac:spMkLst>
            <pc:docMk/>
            <pc:sldMk cId="403333356" sldId="1513"/>
            <ac:spMk id="59" creationId="{1E22F71E-8ACC-8D5B-840C-44F7A3AFEFFB}"/>
          </ac:spMkLst>
        </pc:spChg>
        <pc:spChg chg="mod">
          <ac:chgData name="Divya Rank" userId="8a86f94f-bc51-45b1-baba-7f5d30607298" providerId="ADAL" clId="{12126C74-8380-4416-AB41-D42486FEE1A5}" dt="2025-06-13T13:08:04.580" v="1725" actId="21"/>
          <ac:spMkLst>
            <pc:docMk/>
            <pc:sldMk cId="403333356" sldId="1513"/>
            <ac:spMk id="61" creationId="{04F12DD5-B964-F51A-7DD5-881D34764312}"/>
          </ac:spMkLst>
        </pc:spChg>
        <pc:grpChg chg="add mod">
          <ac:chgData name="Divya Rank" userId="8a86f94f-bc51-45b1-baba-7f5d30607298" providerId="ADAL" clId="{12126C74-8380-4416-AB41-D42486FEE1A5}" dt="2025-06-13T13:08:17.788" v="1811" actId="1038"/>
          <ac:grpSpMkLst>
            <pc:docMk/>
            <pc:sldMk cId="403333356" sldId="1513"/>
            <ac:grpSpMk id="5" creationId="{4F2CE9C4-EB35-7B53-5BE5-AC60FD2B4FFF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3:15:07.937" v="1970" actId="1076"/>
        <pc:sldMkLst>
          <pc:docMk/>
          <pc:sldMk cId="3867998531" sldId="1514"/>
        </pc:sldMkLst>
        <pc:spChg chg="mod">
          <ac:chgData name="Divya Rank" userId="8a86f94f-bc51-45b1-baba-7f5d30607298" providerId="ADAL" clId="{12126C74-8380-4416-AB41-D42486FEE1A5}" dt="2025-06-13T13:12:34.854" v="1887" actId="1037"/>
          <ac:spMkLst>
            <pc:docMk/>
            <pc:sldMk cId="3867998531" sldId="1514"/>
            <ac:spMk id="8" creationId="{BD3154F7-A05D-811C-C22A-B5675CF31240}"/>
          </ac:spMkLst>
        </pc:spChg>
        <pc:spChg chg="mod">
          <ac:chgData name="Divya Rank" userId="8a86f94f-bc51-45b1-baba-7f5d30607298" providerId="ADAL" clId="{12126C74-8380-4416-AB41-D42486FEE1A5}" dt="2025-06-13T13:12:29.541" v="1886" actId="1036"/>
          <ac:spMkLst>
            <pc:docMk/>
            <pc:sldMk cId="3867998531" sldId="1514"/>
            <ac:spMk id="18" creationId="{F9E476B3-E100-8A69-E3AB-34F1F588FE80}"/>
          </ac:spMkLst>
        </pc:spChg>
        <pc:spChg chg="mod">
          <ac:chgData name="Divya Rank" userId="8a86f94f-bc51-45b1-baba-7f5d30607298" providerId="ADAL" clId="{12126C74-8380-4416-AB41-D42486FEE1A5}" dt="2025-06-13T13:12:45.966" v="1903" actId="1036"/>
          <ac:spMkLst>
            <pc:docMk/>
            <pc:sldMk cId="3867998531" sldId="1514"/>
            <ac:spMk id="20" creationId="{E8989827-C96E-1B6C-AD4B-3218ABC672A9}"/>
          </ac:spMkLst>
        </pc:spChg>
        <pc:spChg chg="mod topLvl">
          <ac:chgData name="Divya Rank" userId="8a86f94f-bc51-45b1-baba-7f5d30607298" providerId="ADAL" clId="{12126C74-8380-4416-AB41-D42486FEE1A5}" dt="2025-06-13T13:14:31.198" v="1960" actId="14100"/>
          <ac:spMkLst>
            <pc:docMk/>
            <pc:sldMk cId="3867998531" sldId="1514"/>
            <ac:spMk id="22" creationId="{E748C50C-A498-88F4-40DA-8F029411F938}"/>
          </ac:spMkLst>
        </pc:spChg>
        <pc:grpChg chg="add mod">
          <ac:chgData name="Divya Rank" userId="8a86f94f-bc51-45b1-baba-7f5d30607298" providerId="ADAL" clId="{12126C74-8380-4416-AB41-D42486FEE1A5}" dt="2025-06-13T13:14:45.311" v="1964" actId="14100"/>
          <ac:grpSpMkLst>
            <pc:docMk/>
            <pc:sldMk cId="3867998531" sldId="1514"/>
            <ac:grpSpMk id="11" creationId="{E212D1EE-110B-EF0C-F78C-26A33D0B6898}"/>
          </ac:grpSpMkLst>
        </pc:grpChg>
        <pc:grpChg chg="add mod">
          <ac:chgData name="Divya Rank" userId="8a86f94f-bc51-45b1-baba-7f5d30607298" providerId="ADAL" clId="{12126C74-8380-4416-AB41-D42486FEE1A5}" dt="2025-06-13T13:15:03.524" v="1969" actId="1076"/>
          <ac:grpSpMkLst>
            <pc:docMk/>
            <pc:sldMk cId="3867998531" sldId="1514"/>
            <ac:grpSpMk id="12" creationId="{116DC7B6-27B6-4620-CE64-FFC00C51F0FE}"/>
          </ac:grpSpMkLst>
        </pc:grpChg>
        <pc:picChg chg="mod">
          <ac:chgData name="Divya Rank" userId="8a86f94f-bc51-45b1-baba-7f5d30607298" providerId="ADAL" clId="{12126C74-8380-4416-AB41-D42486FEE1A5}" dt="2025-06-13T13:15:07.937" v="1970" actId="1076"/>
          <ac:picMkLst>
            <pc:docMk/>
            <pc:sldMk cId="3867998531" sldId="1514"/>
            <ac:picMk id="99" creationId="{33A7B65E-877C-BA06-181A-A7B56837D743}"/>
          </ac:picMkLst>
        </pc:picChg>
      </pc:sldChg>
      <pc:sldChg chg="addSp delSp modSp mod">
        <pc:chgData name="Divya Rank" userId="8a86f94f-bc51-45b1-baba-7f5d30607298" providerId="ADAL" clId="{12126C74-8380-4416-AB41-D42486FEE1A5}" dt="2025-06-13T13:19:33.448" v="2060" actId="164"/>
        <pc:sldMkLst>
          <pc:docMk/>
          <pc:sldMk cId="3967225034" sldId="1516"/>
        </pc:sldMkLst>
        <pc:spChg chg="mod">
          <ac:chgData name="Divya Rank" userId="8a86f94f-bc51-45b1-baba-7f5d30607298" providerId="ADAL" clId="{12126C74-8380-4416-AB41-D42486FEE1A5}" dt="2025-06-13T13:17:21.456" v="2019" actId="255"/>
          <ac:spMkLst>
            <pc:docMk/>
            <pc:sldMk cId="3967225034" sldId="1516"/>
            <ac:spMk id="3" creationId="{5D1B8ACD-2CD4-BADE-A854-BBE701C878A1}"/>
          </ac:spMkLst>
        </pc:spChg>
        <pc:spChg chg="mod">
          <ac:chgData name="Divya Rank" userId="8a86f94f-bc51-45b1-baba-7f5d30607298" providerId="ADAL" clId="{12126C74-8380-4416-AB41-D42486FEE1A5}" dt="2025-06-13T13:17:21.456" v="2019" actId="255"/>
          <ac:spMkLst>
            <pc:docMk/>
            <pc:sldMk cId="3967225034" sldId="1516"/>
            <ac:spMk id="6" creationId="{FAD5B962-67CC-75A9-B102-3D2B7028FBED}"/>
          </ac:spMkLst>
        </pc:spChg>
        <pc:spChg chg="mod">
          <ac:chgData name="Divya Rank" userId="8a86f94f-bc51-45b1-baba-7f5d30607298" providerId="ADAL" clId="{12126C74-8380-4416-AB41-D42486FEE1A5}" dt="2025-06-13T13:17:41.126" v="2023" actId="1035"/>
          <ac:spMkLst>
            <pc:docMk/>
            <pc:sldMk cId="3967225034" sldId="1516"/>
            <ac:spMk id="7" creationId="{D8269040-577B-B9BA-56CA-C17015A19AFF}"/>
          </ac:spMkLst>
        </pc:spChg>
        <pc:spChg chg="mod">
          <ac:chgData name="Divya Rank" userId="8a86f94f-bc51-45b1-baba-7f5d30607298" providerId="ADAL" clId="{12126C74-8380-4416-AB41-D42486FEE1A5}" dt="2025-06-13T13:15:27.603" v="1976" actId="21"/>
          <ac:spMkLst>
            <pc:docMk/>
            <pc:sldMk cId="3967225034" sldId="1516"/>
            <ac:spMk id="11" creationId="{1CB3EFD3-C70B-46E6-9486-08E317190683}"/>
          </ac:spMkLst>
        </pc:spChg>
        <pc:spChg chg="mod">
          <ac:chgData name="Divya Rank" userId="8a86f94f-bc51-45b1-baba-7f5d30607298" providerId="ADAL" clId="{12126C74-8380-4416-AB41-D42486FEE1A5}" dt="2025-06-13T13:17:30.011" v="2021" actId="255"/>
          <ac:spMkLst>
            <pc:docMk/>
            <pc:sldMk cId="3967225034" sldId="1516"/>
            <ac:spMk id="17" creationId="{8C23A18D-28DD-A534-3236-ACEB490CFFAA}"/>
          </ac:spMkLst>
        </pc:spChg>
        <pc:spChg chg="mod">
          <ac:chgData name="Divya Rank" userId="8a86f94f-bc51-45b1-baba-7f5d30607298" providerId="ADAL" clId="{12126C74-8380-4416-AB41-D42486FEE1A5}" dt="2025-06-13T13:17:30.011" v="2021" actId="255"/>
          <ac:spMkLst>
            <pc:docMk/>
            <pc:sldMk cId="3967225034" sldId="1516"/>
            <ac:spMk id="30" creationId="{C1D4211E-DDCD-C52A-1569-B7E3AD2592DD}"/>
          </ac:spMkLst>
        </pc:spChg>
        <pc:grpChg chg="add">
          <ac:chgData name="Divya Rank" userId="8a86f94f-bc51-45b1-baba-7f5d30607298" providerId="ADAL" clId="{12126C74-8380-4416-AB41-D42486FEE1A5}" dt="2025-06-13T13:19:23.399" v="2058" actId="164"/>
          <ac:grpSpMkLst>
            <pc:docMk/>
            <pc:sldMk cId="3967225034" sldId="1516"/>
            <ac:grpSpMk id="5" creationId="{99516CF7-9FBF-FED4-9380-891EEAB1FC6B}"/>
          </ac:grpSpMkLst>
        </pc:grpChg>
        <pc:grpChg chg="add">
          <ac:chgData name="Divya Rank" userId="8a86f94f-bc51-45b1-baba-7f5d30607298" providerId="ADAL" clId="{12126C74-8380-4416-AB41-D42486FEE1A5}" dt="2025-06-13T13:19:26.992" v="2059" actId="164"/>
          <ac:grpSpMkLst>
            <pc:docMk/>
            <pc:sldMk cId="3967225034" sldId="1516"/>
            <ac:grpSpMk id="19" creationId="{DD747031-878C-FEE0-C803-C602B7E0699F}"/>
          </ac:grpSpMkLst>
        </pc:grpChg>
        <pc:grpChg chg="add">
          <ac:chgData name="Divya Rank" userId="8a86f94f-bc51-45b1-baba-7f5d30607298" providerId="ADAL" clId="{12126C74-8380-4416-AB41-D42486FEE1A5}" dt="2025-06-13T13:19:33.448" v="2060" actId="164"/>
          <ac:grpSpMkLst>
            <pc:docMk/>
            <pc:sldMk cId="3967225034" sldId="1516"/>
            <ac:grpSpMk id="20" creationId="{8591C72C-2A46-C199-285D-4A7444862D0B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3:21:04.454" v="2165" actId="1038"/>
        <pc:sldMkLst>
          <pc:docMk/>
          <pc:sldMk cId="68260875" sldId="1518"/>
        </pc:sldMkLst>
        <pc:spChg chg="mod">
          <ac:chgData name="Divya Rank" userId="8a86f94f-bc51-45b1-baba-7f5d30607298" providerId="ADAL" clId="{12126C74-8380-4416-AB41-D42486FEE1A5}" dt="2025-06-13T13:17:45.239" v="2027" actId="1035"/>
          <ac:spMkLst>
            <pc:docMk/>
            <pc:sldMk cId="68260875" sldId="1518"/>
            <ac:spMk id="29" creationId="{FE04DFE8-BFDC-9475-751F-355800180463}"/>
          </ac:spMkLst>
        </pc:spChg>
        <pc:spChg chg="mod">
          <ac:chgData name="Divya Rank" userId="8a86f94f-bc51-45b1-baba-7f5d30607298" providerId="ADAL" clId="{12126C74-8380-4416-AB41-D42486FEE1A5}" dt="2025-06-13T13:20:50.721" v="2084"/>
          <ac:spMkLst>
            <pc:docMk/>
            <pc:sldMk cId="68260875" sldId="1518"/>
            <ac:spMk id="32" creationId="{769A0010-3467-855C-3314-0BCFFF5941C7}"/>
          </ac:spMkLst>
        </pc:spChg>
        <pc:spChg chg="mod">
          <ac:chgData name="Divya Rank" userId="8a86f94f-bc51-45b1-baba-7f5d30607298" providerId="ADAL" clId="{12126C74-8380-4416-AB41-D42486FEE1A5}" dt="2025-06-13T13:20:55.328" v="2086" actId="14100"/>
          <ac:spMkLst>
            <pc:docMk/>
            <pc:sldMk cId="68260875" sldId="1518"/>
            <ac:spMk id="33" creationId="{B98F7A0F-6FAC-511B-D6C2-3D29C03278CA}"/>
          </ac:spMkLst>
        </pc:spChg>
        <pc:grpChg chg="add mod">
          <ac:chgData name="Divya Rank" userId="8a86f94f-bc51-45b1-baba-7f5d30607298" providerId="ADAL" clId="{12126C74-8380-4416-AB41-D42486FEE1A5}" dt="2025-06-13T13:21:04.454" v="2165" actId="1038"/>
          <ac:grpSpMkLst>
            <pc:docMk/>
            <pc:sldMk cId="68260875" sldId="1518"/>
            <ac:grpSpMk id="5" creationId="{CC1CE98B-EE6F-A991-C970-6D2695160BFE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4:00:06.646" v="4055" actId="1036"/>
        <pc:sldMkLst>
          <pc:docMk/>
          <pc:sldMk cId="2899677496" sldId="1519"/>
        </pc:sldMkLst>
        <pc:spChg chg="mod">
          <ac:chgData name="Divya Rank" userId="8a86f94f-bc51-45b1-baba-7f5d30607298" providerId="ADAL" clId="{12126C74-8380-4416-AB41-D42486FEE1A5}" dt="2025-06-13T14:00:06.646" v="4055" actId="1036"/>
          <ac:spMkLst>
            <pc:docMk/>
            <pc:sldMk cId="2899677496" sldId="1519"/>
            <ac:spMk id="2" creationId="{AE8503D4-042F-3121-5C0B-636E768406E8}"/>
          </ac:spMkLst>
        </pc:spChg>
        <pc:spChg chg="add mod">
          <ac:chgData name="Divya Rank" userId="8a86f94f-bc51-45b1-baba-7f5d30607298" providerId="ADAL" clId="{12126C74-8380-4416-AB41-D42486FEE1A5}" dt="2025-06-13T13:28:17.166" v="2613" actId="1037"/>
          <ac:spMkLst>
            <pc:docMk/>
            <pc:sldMk cId="2899677496" sldId="1519"/>
            <ac:spMk id="10" creationId="{B0CB651A-C8B9-29CD-B93A-9FD6BB3F6612}"/>
          </ac:spMkLst>
        </pc:spChg>
        <pc:spChg chg="mod">
          <ac:chgData name="Divya Rank" userId="8a86f94f-bc51-45b1-baba-7f5d30607298" providerId="ADAL" clId="{12126C74-8380-4416-AB41-D42486FEE1A5}" dt="2025-06-13T13:28:13.817" v="2610" actId="1038"/>
          <ac:spMkLst>
            <pc:docMk/>
            <pc:sldMk cId="2899677496" sldId="1519"/>
            <ac:spMk id="30" creationId="{64378E86-7A2D-D648-F0A4-AE1B40E9C3CF}"/>
          </ac:spMkLst>
        </pc:spChg>
        <pc:spChg chg="mod topLvl">
          <ac:chgData name="Divya Rank" userId="8a86f94f-bc51-45b1-baba-7f5d30607298" providerId="ADAL" clId="{12126C74-8380-4416-AB41-D42486FEE1A5}" dt="2025-06-13T13:28:13.817" v="2610" actId="1038"/>
          <ac:spMkLst>
            <pc:docMk/>
            <pc:sldMk cId="2899677496" sldId="1519"/>
            <ac:spMk id="33" creationId="{D94F69D3-C71C-FA60-0525-7BAD15CAAC99}"/>
          </ac:spMkLst>
        </pc:spChg>
        <pc:grpChg chg="add mod">
          <ac:chgData name="Divya Rank" userId="8a86f94f-bc51-45b1-baba-7f5d30607298" providerId="ADAL" clId="{12126C74-8380-4416-AB41-D42486FEE1A5}" dt="2025-06-13T13:28:04.378" v="2596" actId="1036"/>
          <ac:grpSpMkLst>
            <pc:docMk/>
            <pc:sldMk cId="2899677496" sldId="1519"/>
            <ac:grpSpMk id="14" creationId="{F77D7DEA-591D-EF0E-6F12-E070780B51A4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4:06:05.427" v="4137" actId="164"/>
        <pc:sldMkLst>
          <pc:docMk/>
          <pc:sldMk cId="449362144" sldId="1520"/>
        </pc:sldMkLst>
        <pc:spChg chg="mod">
          <ac:chgData name="Divya Rank" userId="8a86f94f-bc51-45b1-baba-7f5d30607298" providerId="ADAL" clId="{12126C74-8380-4416-AB41-D42486FEE1A5}" dt="2025-06-13T14:00:09.469" v="4056" actId="1036"/>
          <ac:spMkLst>
            <pc:docMk/>
            <pc:sldMk cId="449362144" sldId="1520"/>
            <ac:spMk id="2" creationId="{A9ECC4C8-BF3D-E8F0-AF7F-A1AA89EFFBF8}"/>
          </ac:spMkLst>
        </pc:spChg>
        <pc:spChg chg="mod topLvl">
          <ac:chgData name="Divya Rank" userId="8a86f94f-bc51-45b1-baba-7f5d30607298" providerId="ADAL" clId="{12126C74-8380-4416-AB41-D42486FEE1A5}" dt="2025-06-13T13:59:33.819" v="4010" actId="14100"/>
          <ac:spMkLst>
            <pc:docMk/>
            <pc:sldMk cId="449362144" sldId="1520"/>
            <ac:spMk id="7" creationId="{6E18BF83-33BE-90DC-3EAA-CEC53A452E04}"/>
          </ac:spMkLst>
        </pc:spChg>
        <pc:spChg chg="mod">
          <ac:chgData name="Divya Rank" userId="8a86f94f-bc51-45b1-baba-7f5d30607298" providerId="ADAL" clId="{12126C74-8380-4416-AB41-D42486FEE1A5}" dt="2025-06-13T13:59:57.094" v="4054" actId="1038"/>
          <ac:spMkLst>
            <pc:docMk/>
            <pc:sldMk cId="449362144" sldId="1520"/>
            <ac:spMk id="16" creationId="{FF82E48F-671C-9B25-BFDF-E7DDC2B522F1}"/>
          </ac:spMkLst>
        </pc:spChg>
        <pc:spChg chg="mod">
          <ac:chgData name="Divya Rank" userId="8a86f94f-bc51-45b1-baba-7f5d30607298" providerId="ADAL" clId="{12126C74-8380-4416-AB41-D42486FEE1A5}" dt="2025-06-13T14:05:52.454" v="4126" actId="1035"/>
          <ac:spMkLst>
            <pc:docMk/>
            <pc:sldMk cId="449362144" sldId="1520"/>
            <ac:spMk id="19" creationId="{CCED3B66-948B-0CC0-84B1-97237C15DBD3}"/>
          </ac:spMkLst>
        </pc:spChg>
        <pc:spChg chg="mod">
          <ac:chgData name="Divya Rank" userId="8a86f94f-bc51-45b1-baba-7f5d30607298" providerId="ADAL" clId="{12126C74-8380-4416-AB41-D42486FEE1A5}" dt="2025-06-13T14:04:21.439" v="4075" actId="255"/>
          <ac:spMkLst>
            <pc:docMk/>
            <pc:sldMk cId="449362144" sldId="1520"/>
            <ac:spMk id="21" creationId="{1F2BD10A-34C4-3F12-26E9-05358D982F18}"/>
          </ac:spMkLst>
        </pc:spChg>
        <pc:spChg chg="mod">
          <ac:chgData name="Divya Rank" userId="8a86f94f-bc51-45b1-baba-7f5d30607298" providerId="ADAL" clId="{12126C74-8380-4416-AB41-D42486FEE1A5}" dt="2025-06-13T14:04:21.439" v="4075" actId="255"/>
          <ac:spMkLst>
            <pc:docMk/>
            <pc:sldMk cId="449362144" sldId="1520"/>
            <ac:spMk id="23" creationId="{96A0FA7B-6CA7-523F-D40F-6E37517E5D09}"/>
          </ac:spMkLst>
        </pc:spChg>
        <pc:spChg chg="mod">
          <ac:chgData name="Divya Rank" userId="8a86f94f-bc51-45b1-baba-7f5d30607298" providerId="ADAL" clId="{12126C74-8380-4416-AB41-D42486FEE1A5}" dt="2025-06-13T14:04:21.439" v="4075" actId="255"/>
          <ac:spMkLst>
            <pc:docMk/>
            <pc:sldMk cId="449362144" sldId="1520"/>
            <ac:spMk id="25" creationId="{68EBA6C9-F631-ED7C-1DCC-9C1C9D487C81}"/>
          </ac:spMkLst>
        </pc:spChg>
        <pc:spChg chg="mod">
          <ac:chgData name="Divya Rank" userId="8a86f94f-bc51-45b1-baba-7f5d30607298" providerId="ADAL" clId="{12126C74-8380-4416-AB41-D42486FEE1A5}" dt="2025-06-13T14:04:21.439" v="4075" actId="255"/>
          <ac:spMkLst>
            <pc:docMk/>
            <pc:sldMk cId="449362144" sldId="1520"/>
            <ac:spMk id="27" creationId="{CCA88248-F0A5-4A43-8C96-2EDE987F7671}"/>
          </ac:spMkLst>
        </pc:spChg>
        <pc:spChg chg="mod">
          <ac:chgData name="Divya Rank" userId="8a86f94f-bc51-45b1-baba-7f5d30607298" providerId="ADAL" clId="{12126C74-8380-4416-AB41-D42486FEE1A5}" dt="2025-06-13T14:04:21.439" v="4075" actId="255"/>
          <ac:spMkLst>
            <pc:docMk/>
            <pc:sldMk cId="449362144" sldId="1520"/>
            <ac:spMk id="29" creationId="{03A1550B-C791-1A57-4401-8E3ED00FC748}"/>
          </ac:spMkLst>
        </pc:spChg>
        <pc:spChg chg="mod">
          <ac:chgData name="Divya Rank" userId="8a86f94f-bc51-45b1-baba-7f5d30607298" providerId="ADAL" clId="{12126C74-8380-4416-AB41-D42486FEE1A5}" dt="2025-06-13T14:04:21.439" v="4075" actId="255"/>
          <ac:spMkLst>
            <pc:docMk/>
            <pc:sldMk cId="449362144" sldId="1520"/>
            <ac:spMk id="49" creationId="{2EFC7544-B1E6-999F-D277-D2B6A0BFF413}"/>
          </ac:spMkLst>
        </pc:spChg>
        <pc:grpChg chg="add mod">
          <ac:chgData name="Divya Rank" userId="8a86f94f-bc51-45b1-baba-7f5d30607298" providerId="ADAL" clId="{12126C74-8380-4416-AB41-D42486FEE1A5}" dt="2025-06-13T13:59:57.094" v="4054" actId="1038"/>
          <ac:grpSpMkLst>
            <pc:docMk/>
            <pc:sldMk cId="449362144" sldId="1520"/>
            <ac:grpSpMk id="17" creationId="{7FECB91A-8D81-FB8D-1E59-5715E373DC41}"/>
          </ac:grpSpMkLst>
        </pc:grpChg>
        <pc:grpChg chg="mod">
          <ac:chgData name="Divya Rank" userId="8a86f94f-bc51-45b1-baba-7f5d30607298" providerId="ADAL" clId="{12126C74-8380-4416-AB41-D42486FEE1A5}" dt="2025-06-13T14:05:18.205" v="4110" actId="14100"/>
          <ac:grpSpMkLst>
            <pc:docMk/>
            <pc:sldMk cId="449362144" sldId="1520"/>
            <ac:grpSpMk id="36" creationId="{B2B1AF0A-4573-462E-0E51-0AD8D9384C18}"/>
          </ac:grpSpMkLst>
        </pc:grpChg>
        <pc:grpChg chg="mod">
          <ac:chgData name="Divya Rank" userId="8a86f94f-bc51-45b1-baba-7f5d30607298" providerId="ADAL" clId="{12126C74-8380-4416-AB41-D42486FEE1A5}" dt="2025-06-13T14:05:18.205" v="4110" actId="14100"/>
          <ac:grpSpMkLst>
            <pc:docMk/>
            <pc:sldMk cId="449362144" sldId="1520"/>
            <ac:grpSpMk id="37" creationId="{D945424A-9BE0-50E3-3436-385EA04524B0}"/>
          </ac:grpSpMkLst>
        </pc:grpChg>
        <pc:grpChg chg="mod">
          <ac:chgData name="Divya Rank" userId="8a86f94f-bc51-45b1-baba-7f5d30607298" providerId="ADAL" clId="{12126C74-8380-4416-AB41-D42486FEE1A5}" dt="2025-06-13T14:05:18.205" v="4110" actId="14100"/>
          <ac:grpSpMkLst>
            <pc:docMk/>
            <pc:sldMk cId="449362144" sldId="1520"/>
            <ac:grpSpMk id="38" creationId="{4A8BB277-6048-0E1F-C920-E46D29ED0414}"/>
          </ac:grpSpMkLst>
        </pc:grpChg>
        <pc:grpChg chg="mod">
          <ac:chgData name="Divya Rank" userId="8a86f94f-bc51-45b1-baba-7f5d30607298" providerId="ADAL" clId="{12126C74-8380-4416-AB41-D42486FEE1A5}" dt="2025-06-13T14:05:03.238" v="4105" actId="1035"/>
          <ac:grpSpMkLst>
            <pc:docMk/>
            <pc:sldMk cId="449362144" sldId="1520"/>
            <ac:grpSpMk id="39" creationId="{4AC89E27-081E-BC5B-C042-7A652E828681}"/>
          </ac:grpSpMkLst>
        </pc:grpChg>
        <pc:grpChg chg="mod">
          <ac:chgData name="Divya Rank" userId="8a86f94f-bc51-45b1-baba-7f5d30607298" providerId="ADAL" clId="{12126C74-8380-4416-AB41-D42486FEE1A5}" dt="2025-06-13T14:05:03.238" v="4105" actId="1035"/>
          <ac:grpSpMkLst>
            <pc:docMk/>
            <pc:sldMk cId="449362144" sldId="1520"/>
            <ac:grpSpMk id="40" creationId="{8420CE16-EC1E-0BCD-DCCC-50D27D182EC3}"/>
          </ac:grpSpMkLst>
        </pc:grpChg>
        <pc:grpChg chg="mod">
          <ac:chgData name="Divya Rank" userId="8a86f94f-bc51-45b1-baba-7f5d30607298" providerId="ADAL" clId="{12126C74-8380-4416-AB41-D42486FEE1A5}" dt="2025-06-13T14:05:03.238" v="4105" actId="1035"/>
          <ac:grpSpMkLst>
            <pc:docMk/>
            <pc:sldMk cId="449362144" sldId="1520"/>
            <ac:grpSpMk id="41" creationId="{1CB8A2DD-1F5D-048E-AEE8-5E3F0073FCAD}"/>
          </ac:grpSpMkLst>
        </pc:grpChg>
        <pc:grpChg chg="add mod topLvl">
          <ac:chgData name="Divya Rank" userId="8a86f94f-bc51-45b1-baba-7f5d30607298" providerId="ADAL" clId="{12126C74-8380-4416-AB41-D42486FEE1A5}" dt="2025-06-13T14:05:57.767" v="4127" actId="165"/>
          <ac:grpSpMkLst>
            <pc:docMk/>
            <pc:sldMk cId="449362144" sldId="1520"/>
            <ac:grpSpMk id="42" creationId="{D8844445-52B4-41EC-49C4-72EFEE788C5C}"/>
          </ac:grpSpMkLst>
        </pc:grpChg>
        <pc:grpChg chg="add mod topLvl">
          <ac:chgData name="Divya Rank" userId="8a86f94f-bc51-45b1-baba-7f5d30607298" providerId="ADAL" clId="{12126C74-8380-4416-AB41-D42486FEE1A5}" dt="2025-06-13T14:06:02.832" v="4136" actId="1038"/>
          <ac:grpSpMkLst>
            <pc:docMk/>
            <pc:sldMk cId="449362144" sldId="1520"/>
            <ac:grpSpMk id="46" creationId="{5129E692-AF8A-FFC5-6BBB-EA85C2D2E80E}"/>
          </ac:grpSpMkLst>
        </pc:grpChg>
        <pc:grpChg chg="add">
          <ac:chgData name="Divya Rank" userId="8a86f94f-bc51-45b1-baba-7f5d30607298" providerId="ADAL" clId="{12126C74-8380-4416-AB41-D42486FEE1A5}" dt="2025-06-13T14:06:05.427" v="4137" actId="164"/>
          <ac:grpSpMkLst>
            <pc:docMk/>
            <pc:sldMk cId="449362144" sldId="1520"/>
            <ac:grpSpMk id="51" creationId="{5FC17B95-57B4-767D-8D5C-11C7634E05AF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4:08:36.905" v="4225" actId="1035"/>
        <pc:sldMkLst>
          <pc:docMk/>
          <pc:sldMk cId="2921432197" sldId="1521"/>
        </pc:sldMkLst>
        <pc:spChg chg="mod">
          <ac:chgData name="Divya Rank" userId="8a86f94f-bc51-45b1-baba-7f5d30607298" providerId="ADAL" clId="{12126C74-8380-4416-AB41-D42486FEE1A5}" dt="2025-06-13T14:00:12.195" v="4057" actId="1036"/>
          <ac:spMkLst>
            <pc:docMk/>
            <pc:sldMk cId="2921432197" sldId="1521"/>
            <ac:spMk id="2" creationId="{E32D2D02-3A6D-3373-D8C2-6C016C3706F5}"/>
          </ac:spMkLst>
        </pc:spChg>
        <pc:spChg chg="mod">
          <ac:chgData name="Divya Rank" userId="8a86f94f-bc51-45b1-baba-7f5d30607298" providerId="ADAL" clId="{12126C74-8380-4416-AB41-D42486FEE1A5}" dt="2025-06-13T14:08:30.550" v="4211" actId="1036"/>
          <ac:spMkLst>
            <pc:docMk/>
            <pc:sldMk cId="2921432197" sldId="1521"/>
            <ac:spMk id="15" creationId="{9DEEA362-81DE-719D-C06D-7275AF2D6E86}"/>
          </ac:spMkLst>
        </pc:spChg>
        <pc:spChg chg="mod">
          <ac:chgData name="Divya Rank" userId="8a86f94f-bc51-45b1-baba-7f5d30607298" providerId="ADAL" clId="{12126C74-8380-4416-AB41-D42486FEE1A5}" dt="2025-06-13T14:08:24.707" v="4206" actId="122"/>
          <ac:spMkLst>
            <pc:docMk/>
            <pc:sldMk cId="2921432197" sldId="1521"/>
            <ac:spMk id="30" creationId="{AA146B70-C42F-0226-336A-7DB47F97E83B}"/>
          </ac:spMkLst>
        </pc:spChg>
        <pc:spChg chg="mod">
          <ac:chgData name="Divya Rank" userId="8a86f94f-bc51-45b1-baba-7f5d30607298" providerId="ADAL" clId="{12126C74-8380-4416-AB41-D42486FEE1A5}" dt="2025-06-13T14:08:13.825" v="4204" actId="122"/>
          <ac:spMkLst>
            <pc:docMk/>
            <pc:sldMk cId="2921432197" sldId="1521"/>
            <ac:spMk id="46" creationId="{6FE2B93E-0BE7-B776-BC49-BF7277AA1266}"/>
          </ac:spMkLst>
        </pc:spChg>
        <pc:spChg chg="mod topLvl">
          <ac:chgData name="Divya Rank" userId="8a86f94f-bc51-45b1-baba-7f5d30607298" providerId="ADAL" clId="{12126C74-8380-4416-AB41-D42486FEE1A5}" dt="2025-06-13T14:08:18.371" v="4205" actId="1076"/>
          <ac:spMkLst>
            <pc:docMk/>
            <pc:sldMk cId="2921432197" sldId="1521"/>
            <ac:spMk id="51" creationId="{918F076C-C088-0704-1EC9-A2C95C4E5099}"/>
          </ac:spMkLst>
        </pc:spChg>
        <pc:grpChg chg="add mod">
          <ac:chgData name="Divya Rank" userId="8a86f94f-bc51-45b1-baba-7f5d30607298" providerId="ADAL" clId="{12126C74-8380-4416-AB41-D42486FEE1A5}" dt="2025-06-13T14:08:36.905" v="4225" actId="1035"/>
          <ac:grpSpMkLst>
            <pc:docMk/>
            <pc:sldMk cId="2921432197" sldId="1521"/>
            <ac:grpSpMk id="9" creationId="{3B46AED4-65D3-5139-2965-CC68D134D970}"/>
          </ac:grpSpMkLst>
        </pc:grpChg>
        <pc:picChg chg="mod">
          <ac:chgData name="Divya Rank" userId="8a86f94f-bc51-45b1-baba-7f5d30607298" providerId="ADAL" clId="{12126C74-8380-4416-AB41-D42486FEE1A5}" dt="2025-06-13T14:06:12.150" v="4138" actId="1076"/>
          <ac:picMkLst>
            <pc:docMk/>
            <pc:sldMk cId="2921432197" sldId="1521"/>
            <ac:picMk id="14" creationId="{AC600D50-89D9-97E4-2483-751F74F7351B}"/>
          </ac:picMkLst>
        </pc:picChg>
      </pc:sldChg>
      <pc:sldChg chg="delSp modSp mod">
        <pc:chgData name="Divya Rank" userId="8a86f94f-bc51-45b1-baba-7f5d30607298" providerId="ADAL" clId="{12126C74-8380-4416-AB41-D42486FEE1A5}" dt="2025-06-13T14:13:34.724" v="4427" actId="1076"/>
        <pc:sldMkLst>
          <pc:docMk/>
          <pc:sldMk cId="155678836" sldId="1522"/>
        </pc:sldMkLst>
        <pc:spChg chg="mod">
          <ac:chgData name="Divya Rank" userId="8a86f94f-bc51-45b1-baba-7f5d30607298" providerId="ADAL" clId="{12126C74-8380-4416-AB41-D42486FEE1A5}" dt="2025-06-13T14:00:16.671" v="4058" actId="1036"/>
          <ac:spMkLst>
            <pc:docMk/>
            <pc:sldMk cId="155678836" sldId="1522"/>
            <ac:spMk id="2" creationId="{971EFC83-31CB-A99E-0A40-4144CD7EC39C}"/>
          </ac:spMkLst>
        </pc:spChg>
        <pc:spChg chg="mod">
          <ac:chgData name="Divya Rank" userId="8a86f94f-bc51-45b1-baba-7f5d30607298" providerId="ADAL" clId="{12126C74-8380-4416-AB41-D42486FEE1A5}" dt="2025-06-13T14:13:01.748" v="4421" actId="1036"/>
          <ac:spMkLst>
            <pc:docMk/>
            <pc:sldMk cId="155678836" sldId="1522"/>
            <ac:spMk id="4" creationId="{AF514F9E-9C66-AF53-467C-F9CC5CFAC1C1}"/>
          </ac:spMkLst>
        </pc:spChg>
        <pc:spChg chg="mod topLvl">
          <ac:chgData name="Divya Rank" userId="8a86f94f-bc51-45b1-baba-7f5d30607298" providerId="ADAL" clId="{12126C74-8380-4416-AB41-D42486FEE1A5}" dt="2025-06-13T14:13:25.889" v="4425" actId="1076"/>
          <ac:spMkLst>
            <pc:docMk/>
            <pc:sldMk cId="155678836" sldId="1522"/>
            <ac:spMk id="7" creationId="{7B87DBBF-BD53-5A18-649A-9C8EE5D806B3}"/>
          </ac:spMkLst>
        </pc:spChg>
        <pc:spChg chg="mod">
          <ac:chgData name="Divya Rank" userId="8a86f94f-bc51-45b1-baba-7f5d30607298" providerId="ADAL" clId="{12126C74-8380-4416-AB41-D42486FEE1A5}" dt="2025-06-13T14:13:13.210" v="4422" actId="1076"/>
          <ac:spMkLst>
            <pc:docMk/>
            <pc:sldMk cId="155678836" sldId="1522"/>
            <ac:spMk id="19" creationId="{D89D61B4-4068-222A-A9A3-36A43E47EFE8}"/>
          </ac:spMkLst>
        </pc:spChg>
        <pc:spChg chg="mod topLvl">
          <ac:chgData name="Divya Rank" userId="8a86f94f-bc51-45b1-baba-7f5d30607298" providerId="ADAL" clId="{12126C74-8380-4416-AB41-D42486FEE1A5}" dt="2025-06-13T14:13:34.724" v="4427" actId="1076"/>
          <ac:spMkLst>
            <pc:docMk/>
            <pc:sldMk cId="155678836" sldId="1522"/>
            <ac:spMk id="21" creationId="{7A382AE1-D88D-2780-0DB5-30F1BE05429D}"/>
          </ac:spMkLst>
        </pc:spChg>
      </pc:sldChg>
      <pc:sldChg chg="addSp delSp modSp mod">
        <pc:chgData name="Divya Rank" userId="8a86f94f-bc51-45b1-baba-7f5d30607298" providerId="ADAL" clId="{12126C74-8380-4416-AB41-D42486FEE1A5}" dt="2025-06-13T14:14:44.907" v="4458" actId="14100"/>
        <pc:sldMkLst>
          <pc:docMk/>
          <pc:sldMk cId="1698335145" sldId="1523"/>
        </pc:sldMkLst>
        <pc:spChg chg="mod">
          <ac:chgData name="Divya Rank" userId="8a86f94f-bc51-45b1-baba-7f5d30607298" providerId="ADAL" clId="{12126C74-8380-4416-AB41-D42486FEE1A5}" dt="2025-06-13T14:00:19.701" v="4059" actId="1036"/>
          <ac:spMkLst>
            <pc:docMk/>
            <pc:sldMk cId="1698335145" sldId="1523"/>
            <ac:spMk id="2" creationId="{A4498E6D-9FEA-D4E0-5E59-07BE48900FF8}"/>
          </ac:spMkLst>
        </pc:spChg>
        <pc:spChg chg="mod">
          <ac:chgData name="Divya Rank" userId="8a86f94f-bc51-45b1-baba-7f5d30607298" providerId="ADAL" clId="{12126C74-8380-4416-AB41-D42486FEE1A5}" dt="2025-06-13T14:13:55.323" v="4432" actId="1076"/>
          <ac:spMkLst>
            <pc:docMk/>
            <pc:sldMk cId="1698335145" sldId="1523"/>
            <ac:spMk id="12" creationId="{091C3671-7529-586D-61EF-E695FBB37C71}"/>
          </ac:spMkLst>
        </pc:spChg>
        <pc:spChg chg="mod">
          <ac:chgData name="Divya Rank" userId="8a86f94f-bc51-45b1-baba-7f5d30607298" providerId="ADAL" clId="{12126C74-8380-4416-AB41-D42486FEE1A5}" dt="2025-06-13T14:14:44.907" v="4458" actId="14100"/>
          <ac:spMkLst>
            <pc:docMk/>
            <pc:sldMk cId="1698335145" sldId="1523"/>
            <ac:spMk id="31" creationId="{E78F9FB9-AEC2-6C5A-7F0B-636DD162E023}"/>
          </ac:spMkLst>
        </pc:spChg>
        <pc:grpChg chg="add mod">
          <ac:chgData name="Divya Rank" userId="8a86f94f-bc51-45b1-baba-7f5d30607298" providerId="ADAL" clId="{12126C74-8380-4416-AB41-D42486FEE1A5}" dt="2025-06-13T14:14:13.279" v="4438" actId="1076"/>
          <ac:grpSpMkLst>
            <pc:docMk/>
            <pc:sldMk cId="1698335145" sldId="1523"/>
            <ac:grpSpMk id="10" creationId="{2B2B87FA-90B4-6D34-E689-C2609DC6C134}"/>
          </ac:grpSpMkLst>
        </pc:grpChg>
      </pc:sldChg>
      <pc:sldChg chg="addSp delSp modSp mod">
        <pc:chgData name="Divya Rank" userId="8a86f94f-bc51-45b1-baba-7f5d30607298" providerId="ADAL" clId="{12126C74-8380-4416-AB41-D42486FEE1A5}" dt="2025-06-13T14:20:55.189" v="4635" actId="14100"/>
        <pc:sldMkLst>
          <pc:docMk/>
          <pc:sldMk cId="2878427153" sldId="1524"/>
        </pc:sldMkLst>
        <pc:spChg chg="mod">
          <ac:chgData name="Divya Rank" userId="8a86f94f-bc51-45b1-baba-7f5d30607298" providerId="ADAL" clId="{12126C74-8380-4416-AB41-D42486FEE1A5}" dt="2025-06-13T14:00:22.127" v="4060" actId="1036"/>
          <ac:spMkLst>
            <pc:docMk/>
            <pc:sldMk cId="2878427153" sldId="1524"/>
            <ac:spMk id="2" creationId="{E25AFA30-A3E6-1B67-6CDF-9F10AF8BEA52}"/>
          </ac:spMkLst>
        </pc:spChg>
        <pc:spChg chg="mod">
          <ac:chgData name="Divya Rank" userId="8a86f94f-bc51-45b1-baba-7f5d30607298" providerId="ADAL" clId="{12126C74-8380-4416-AB41-D42486FEE1A5}" dt="2025-06-13T14:18:44.007" v="4551" actId="14100"/>
          <ac:spMkLst>
            <pc:docMk/>
            <pc:sldMk cId="2878427153" sldId="1524"/>
            <ac:spMk id="4" creationId="{B657A558-46B4-E049-ED3C-06F615DB9AE8}"/>
          </ac:spMkLst>
        </pc:spChg>
        <pc:spChg chg="mod">
          <ac:chgData name="Divya Rank" userId="8a86f94f-bc51-45b1-baba-7f5d30607298" providerId="ADAL" clId="{12126C74-8380-4416-AB41-D42486FEE1A5}" dt="2025-06-13T14:19:39.145" v="4591" actId="1037"/>
          <ac:spMkLst>
            <pc:docMk/>
            <pc:sldMk cId="2878427153" sldId="1524"/>
            <ac:spMk id="6" creationId="{16040F45-F429-2888-2CE1-558AA7F98EC5}"/>
          </ac:spMkLst>
        </pc:spChg>
        <pc:spChg chg="mod">
          <ac:chgData name="Divya Rank" userId="8a86f94f-bc51-45b1-baba-7f5d30607298" providerId="ADAL" clId="{12126C74-8380-4416-AB41-D42486FEE1A5}" dt="2025-06-13T14:20:02.482" v="4621" actId="14100"/>
          <ac:spMkLst>
            <pc:docMk/>
            <pc:sldMk cId="2878427153" sldId="1524"/>
            <ac:spMk id="7" creationId="{A64559D4-A987-327D-A9BF-972DA816FA67}"/>
          </ac:spMkLst>
        </pc:spChg>
        <pc:spChg chg="mod">
          <ac:chgData name="Divya Rank" userId="8a86f94f-bc51-45b1-baba-7f5d30607298" providerId="ADAL" clId="{12126C74-8380-4416-AB41-D42486FEE1A5}" dt="2025-06-13T14:18:44.007" v="4551" actId="14100"/>
          <ac:spMkLst>
            <pc:docMk/>
            <pc:sldMk cId="2878427153" sldId="1524"/>
            <ac:spMk id="11" creationId="{EB55F7B8-598F-89DB-DC48-E106E892C9D6}"/>
          </ac:spMkLst>
        </pc:spChg>
        <pc:spChg chg="mod">
          <ac:chgData name="Divya Rank" userId="8a86f94f-bc51-45b1-baba-7f5d30607298" providerId="ADAL" clId="{12126C74-8380-4416-AB41-D42486FEE1A5}" dt="2025-06-13T14:19:57.895" v="4620" actId="1037"/>
          <ac:spMkLst>
            <pc:docMk/>
            <pc:sldMk cId="2878427153" sldId="1524"/>
            <ac:spMk id="12" creationId="{FD44D9AA-3E79-81A9-279E-DAD08CE0138A}"/>
          </ac:spMkLst>
        </pc:spChg>
        <pc:spChg chg="mod">
          <ac:chgData name="Divya Rank" userId="8a86f94f-bc51-45b1-baba-7f5d30607298" providerId="ADAL" clId="{12126C74-8380-4416-AB41-D42486FEE1A5}" dt="2025-06-13T14:19:57.895" v="4620" actId="1037"/>
          <ac:spMkLst>
            <pc:docMk/>
            <pc:sldMk cId="2878427153" sldId="1524"/>
            <ac:spMk id="13" creationId="{043ACD21-C8A9-6C63-0EC6-9A12298538B8}"/>
          </ac:spMkLst>
        </pc:spChg>
        <pc:grpChg chg="add mod">
          <ac:chgData name="Divya Rank" userId="8a86f94f-bc51-45b1-baba-7f5d30607298" providerId="ADAL" clId="{12126C74-8380-4416-AB41-D42486FEE1A5}" dt="2025-06-13T14:20:34.315" v="4628" actId="1076"/>
          <ac:grpSpMkLst>
            <pc:docMk/>
            <pc:sldMk cId="2878427153" sldId="1524"/>
            <ac:grpSpMk id="5" creationId="{D272B3B0-B53D-3289-5F65-71034D8AE305}"/>
          </ac:grpSpMkLst>
        </pc:grpChg>
        <pc:grpChg chg="add mod">
          <ac:chgData name="Divya Rank" userId="8a86f94f-bc51-45b1-baba-7f5d30607298" providerId="ADAL" clId="{12126C74-8380-4416-AB41-D42486FEE1A5}" dt="2025-06-13T14:20:55.189" v="4635" actId="14100"/>
          <ac:grpSpMkLst>
            <pc:docMk/>
            <pc:sldMk cId="2878427153" sldId="1524"/>
            <ac:grpSpMk id="19" creationId="{DF370B58-E0A0-0173-146E-D44D6DA30F7C}"/>
          </ac:grpSpMkLst>
        </pc:grpChg>
      </pc:sldChg>
      <pc:sldChg chg="delSp modSp mod">
        <pc:chgData name="Divya Rank" userId="8a86f94f-bc51-45b1-baba-7f5d30607298" providerId="ADAL" clId="{12126C74-8380-4416-AB41-D42486FEE1A5}" dt="2025-06-14T04:10:13.007" v="6021" actId="1036"/>
        <pc:sldMkLst>
          <pc:docMk/>
          <pc:sldMk cId="156778809" sldId="1525"/>
        </pc:sldMkLst>
        <pc:spChg chg="mod">
          <ac:chgData name="Divya Rank" userId="8a86f94f-bc51-45b1-baba-7f5d30607298" providerId="ADAL" clId="{12126C74-8380-4416-AB41-D42486FEE1A5}" dt="2025-06-14T04:10:13.007" v="6021" actId="1036"/>
          <ac:spMkLst>
            <pc:docMk/>
            <pc:sldMk cId="156778809" sldId="1525"/>
            <ac:spMk id="2" creationId="{5E8B5A01-F7A9-7FBA-99F7-3E432AD5E5E7}"/>
          </ac:spMkLst>
        </pc:spChg>
        <pc:spChg chg="mod">
          <ac:chgData name="Divya Rank" userId="8a86f94f-bc51-45b1-baba-7f5d30607298" providerId="ADAL" clId="{12126C74-8380-4416-AB41-D42486FEE1A5}" dt="2025-06-13T14:26:39.565" v="4788" actId="14100"/>
          <ac:spMkLst>
            <pc:docMk/>
            <pc:sldMk cId="156778809" sldId="1525"/>
            <ac:spMk id="4" creationId="{CB99033E-92FC-6ED5-6AA5-2B3715FA03A7}"/>
          </ac:spMkLst>
        </pc:spChg>
        <pc:spChg chg="mod">
          <ac:chgData name="Divya Rank" userId="8a86f94f-bc51-45b1-baba-7f5d30607298" providerId="ADAL" clId="{12126C74-8380-4416-AB41-D42486FEE1A5}" dt="2025-06-13T14:26:14.281" v="4782" actId="1035"/>
          <ac:spMkLst>
            <pc:docMk/>
            <pc:sldMk cId="156778809" sldId="1525"/>
            <ac:spMk id="7" creationId="{EDE599CC-AE28-4D93-4B88-7D342FF7FC78}"/>
          </ac:spMkLst>
        </pc:spChg>
        <pc:spChg chg="mod topLvl">
          <ac:chgData name="Divya Rank" userId="8a86f94f-bc51-45b1-baba-7f5d30607298" providerId="ADAL" clId="{12126C74-8380-4416-AB41-D42486FEE1A5}" dt="2025-06-13T14:26:55.174" v="4790" actId="1076"/>
          <ac:spMkLst>
            <pc:docMk/>
            <pc:sldMk cId="156778809" sldId="1525"/>
            <ac:spMk id="9" creationId="{D25F8ABA-8E2E-8C32-FD9F-4405C70E6992}"/>
          </ac:spMkLst>
        </pc:spChg>
        <pc:picChg chg="mod">
          <ac:chgData name="Divya Rank" userId="8a86f94f-bc51-45b1-baba-7f5d30607298" providerId="ADAL" clId="{12126C74-8380-4416-AB41-D42486FEE1A5}" dt="2025-06-13T14:25:30.770" v="4724" actId="1076"/>
          <ac:picMkLst>
            <pc:docMk/>
            <pc:sldMk cId="156778809" sldId="1525"/>
            <ac:picMk id="13314" creationId="{D011AD82-439E-252A-6CF3-7560F6575A47}"/>
          </ac:picMkLst>
        </pc:picChg>
      </pc:sldChg>
      <pc:sldChg chg="delSp modSp add del mod">
        <pc:chgData name="Divya Rank" userId="8a86f94f-bc51-45b1-baba-7f5d30607298" providerId="ADAL" clId="{12126C74-8380-4416-AB41-D42486FEE1A5}" dt="2025-06-13T10:28:46.897" v="261" actId="47"/>
        <pc:sldMkLst>
          <pc:docMk/>
          <pc:sldMk cId="3732448828" sldId="1526"/>
        </pc:sldMkLst>
      </pc:sldChg>
      <pc:sldChg chg="modSp add mod">
        <pc:chgData name="Divya Rank" userId="8a86f94f-bc51-45b1-baba-7f5d30607298" providerId="ADAL" clId="{12126C74-8380-4416-AB41-D42486FEE1A5}" dt="2025-06-13T10:29:05.584" v="265" actId="2711"/>
        <pc:sldMkLst>
          <pc:docMk/>
          <pc:sldMk cId="1591007910" sldId="1527"/>
        </pc:sldMkLst>
        <pc:spChg chg="mod">
          <ac:chgData name="Divya Rank" userId="8a86f94f-bc51-45b1-baba-7f5d30607298" providerId="ADAL" clId="{12126C74-8380-4416-AB41-D42486FEE1A5}" dt="2025-06-13T10:29:05.584" v="265" actId="2711"/>
          <ac:spMkLst>
            <pc:docMk/>
            <pc:sldMk cId="1591007910" sldId="1527"/>
            <ac:spMk id="5" creationId="{5687EB62-C5B8-DCA3-FEC3-205219F4E69F}"/>
          </ac:spMkLst>
        </pc:spChg>
        <pc:spChg chg="mod">
          <ac:chgData name="Divya Rank" userId="8a86f94f-bc51-45b1-baba-7f5d30607298" providerId="ADAL" clId="{12126C74-8380-4416-AB41-D42486FEE1A5}" dt="2025-06-13T10:29:05.584" v="265" actId="2711"/>
          <ac:spMkLst>
            <pc:docMk/>
            <pc:sldMk cId="1591007910" sldId="1527"/>
            <ac:spMk id="9" creationId="{733AD0C6-5E00-08EE-ABF1-126783C62442}"/>
          </ac:spMkLst>
        </pc:spChg>
        <pc:spChg chg="mod">
          <ac:chgData name="Divya Rank" userId="8a86f94f-bc51-45b1-baba-7f5d30607298" providerId="ADAL" clId="{12126C74-8380-4416-AB41-D42486FEE1A5}" dt="2025-06-13T10:29:05.584" v="265" actId="2711"/>
          <ac:spMkLst>
            <pc:docMk/>
            <pc:sldMk cId="1591007910" sldId="1527"/>
            <ac:spMk id="10" creationId="{8E694FB5-E15F-7444-96D4-8F9F692499F4}"/>
          </ac:spMkLst>
        </pc:spChg>
      </pc:sldChg>
      <pc:sldChg chg="addSp delSp modSp mod">
        <pc:chgData name="Divya Rank" userId="8a86f94f-bc51-45b1-baba-7f5d30607298" providerId="ADAL" clId="{12126C74-8380-4416-AB41-D42486FEE1A5}" dt="2025-06-16T07:53:46.962" v="6262"/>
        <pc:sldMkLst>
          <pc:docMk/>
          <pc:sldMk cId="3936120284" sldId="1528"/>
        </pc:sldMkLst>
        <pc:spChg chg="mod">
          <ac:chgData name="Divya Rank" userId="8a86f94f-bc51-45b1-baba-7f5d30607298" providerId="ADAL" clId="{12126C74-8380-4416-AB41-D42486FEE1A5}" dt="2025-06-14T04:11:05.559" v="6059" actId="1036"/>
          <ac:spMkLst>
            <pc:docMk/>
            <pc:sldMk cId="3936120284" sldId="1528"/>
            <ac:spMk id="2" creationId="{1B9F3F68-8F3C-A68D-7814-F562FFB48CED}"/>
          </ac:spMkLst>
        </pc:spChg>
        <pc:spChg chg="add mod">
          <ac:chgData name="Divya Rank" userId="8a86f94f-bc51-45b1-baba-7f5d30607298" providerId="ADAL" clId="{12126C74-8380-4416-AB41-D42486FEE1A5}" dt="2025-06-16T07:53:46.962" v="6262"/>
          <ac:spMkLst>
            <pc:docMk/>
            <pc:sldMk cId="3936120284" sldId="1528"/>
            <ac:spMk id="6" creationId="{22141F1E-30A9-DFF9-FE29-4DD1D22E1065}"/>
          </ac:spMkLst>
        </pc:spChg>
      </pc:sldChg>
      <pc:sldChg chg="addSp delSp modSp mod">
        <pc:chgData name="Divya Rank" userId="8a86f94f-bc51-45b1-baba-7f5d30607298" providerId="ADAL" clId="{12126C74-8380-4416-AB41-D42486FEE1A5}" dt="2025-06-14T04:10:56.850" v="6041" actId="1035"/>
        <pc:sldMkLst>
          <pc:docMk/>
          <pc:sldMk cId="3508632382" sldId="1529"/>
        </pc:sldMkLst>
        <pc:spChg chg="mod">
          <ac:chgData name="Divya Rank" userId="8a86f94f-bc51-45b1-baba-7f5d30607298" providerId="ADAL" clId="{12126C74-8380-4416-AB41-D42486FEE1A5}" dt="2025-06-14T04:10:56.850" v="6041" actId="1035"/>
          <ac:spMkLst>
            <pc:docMk/>
            <pc:sldMk cId="3508632382" sldId="1529"/>
            <ac:spMk id="2" creationId="{C649BD0A-D909-97F1-559F-FE2796BA9FFA}"/>
          </ac:spMkLst>
        </pc:spChg>
        <pc:spChg chg="mod">
          <ac:chgData name="Divya Rank" userId="8a86f94f-bc51-45b1-baba-7f5d30607298" providerId="ADAL" clId="{12126C74-8380-4416-AB41-D42486FEE1A5}" dt="2025-06-13T15:31:21.441" v="5847" actId="1076"/>
          <ac:spMkLst>
            <pc:docMk/>
            <pc:sldMk cId="3508632382" sldId="1529"/>
            <ac:spMk id="3" creationId="{0EF4E9CF-6D34-F97D-95B0-0AAE7405DE96}"/>
          </ac:spMkLst>
        </pc:spChg>
        <pc:picChg chg="add mod">
          <ac:chgData name="Divya Rank" userId="8a86f94f-bc51-45b1-baba-7f5d30607298" providerId="ADAL" clId="{12126C74-8380-4416-AB41-D42486FEE1A5}" dt="2025-06-13T15:31:51.255" v="5850" actId="34135"/>
          <ac:picMkLst>
            <pc:docMk/>
            <pc:sldMk cId="3508632382" sldId="1529"/>
            <ac:picMk id="5" creationId="{C718B8E4-370E-61DE-D1EA-05C640E53B23}"/>
          </ac:picMkLst>
        </pc:picChg>
      </pc:sldChg>
      <pc:sldChg chg="modSp mod">
        <pc:chgData name="Divya Rank" userId="8a86f94f-bc51-45b1-baba-7f5d30607298" providerId="ADAL" clId="{12126C74-8380-4416-AB41-D42486FEE1A5}" dt="2025-06-13T13:52:47.744" v="3829" actId="6549"/>
        <pc:sldMkLst>
          <pc:docMk/>
          <pc:sldMk cId="2783753630" sldId="1530"/>
        </pc:sldMkLst>
        <pc:spChg chg="mod">
          <ac:chgData name="Divya Rank" userId="8a86f94f-bc51-45b1-baba-7f5d30607298" providerId="ADAL" clId="{12126C74-8380-4416-AB41-D42486FEE1A5}" dt="2025-06-13T13:35:35.049" v="2887" actId="1036"/>
          <ac:spMkLst>
            <pc:docMk/>
            <pc:sldMk cId="2783753630" sldId="1530"/>
            <ac:spMk id="2" creationId="{66EF9D16-A17A-CB43-B5E6-B8693F6E7F85}"/>
          </ac:spMkLst>
        </pc:spChg>
        <pc:spChg chg="mod">
          <ac:chgData name="Divya Rank" userId="8a86f94f-bc51-45b1-baba-7f5d30607298" providerId="ADAL" clId="{12126C74-8380-4416-AB41-D42486FEE1A5}" dt="2025-06-13T13:52:24.956" v="3815" actId="6549"/>
          <ac:spMkLst>
            <pc:docMk/>
            <pc:sldMk cId="2783753630" sldId="1530"/>
            <ac:spMk id="5" creationId="{C2D4F2A9-FA00-9943-28B8-351F0460EF92}"/>
          </ac:spMkLst>
        </pc:spChg>
        <pc:spChg chg="mod">
          <ac:chgData name="Divya Rank" userId="8a86f94f-bc51-45b1-baba-7f5d30607298" providerId="ADAL" clId="{12126C74-8380-4416-AB41-D42486FEE1A5}" dt="2025-06-13T13:52:03.488" v="3810" actId="404"/>
          <ac:spMkLst>
            <pc:docMk/>
            <pc:sldMk cId="2783753630" sldId="1530"/>
            <ac:spMk id="7" creationId="{E254264B-F855-1DB0-657E-F1A4D476230A}"/>
          </ac:spMkLst>
        </pc:spChg>
        <pc:spChg chg="mod">
          <ac:chgData name="Divya Rank" userId="8a86f94f-bc51-45b1-baba-7f5d30607298" providerId="ADAL" clId="{12126C74-8380-4416-AB41-D42486FEE1A5}" dt="2025-06-13T13:52:32.800" v="3819" actId="6549"/>
          <ac:spMkLst>
            <pc:docMk/>
            <pc:sldMk cId="2783753630" sldId="1530"/>
            <ac:spMk id="8" creationId="{FC84C9F7-09A7-28F9-C1A1-AA2DA9BCE97A}"/>
          </ac:spMkLst>
        </pc:spChg>
        <pc:spChg chg="mod">
          <ac:chgData name="Divya Rank" userId="8a86f94f-bc51-45b1-baba-7f5d30607298" providerId="ADAL" clId="{12126C74-8380-4416-AB41-D42486FEE1A5}" dt="2025-06-13T13:52:03.488" v="3810" actId="404"/>
          <ac:spMkLst>
            <pc:docMk/>
            <pc:sldMk cId="2783753630" sldId="1530"/>
            <ac:spMk id="58" creationId="{C59FCE71-5346-5D10-A681-2A01D4F3D501}"/>
          </ac:spMkLst>
        </pc:spChg>
        <pc:spChg chg="mod">
          <ac:chgData name="Divya Rank" userId="8a86f94f-bc51-45b1-baba-7f5d30607298" providerId="ADAL" clId="{12126C74-8380-4416-AB41-D42486FEE1A5}" dt="2025-06-13T13:52:39.766" v="3823" actId="6549"/>
          <ac:spMkLst>
            <pc:docMk/>
            <pc:sldMk cId="2783753630" sldId="1530"/>
            <ac:spMk id="59" creationId="{0E6E8552-BAE5-F4A5-D9EA-211A66149F77}"/>
          </ac:spMkLst>
        </pc:spChg>
        <pc:spChg chg="mod">
          <ac:chgData name="Divya Rank" userId="8a86f94f-bc51-45b1-baba-7f5d30607298" providerId="ADAL" clId="{12126C74-8380-4416-AB41-D42486FEE1A5}" dt="2025-06-13T13:52:03.488" v="3810" actId="404"/>
          <ac:spMkLst>
            <pc:docMk/>
            <pc:sldMk cId="2783753630" sldId="1530"/>
            <ac:spMk id="60" creationId="{CD82A91B-B24F-3F51-0878-2BDAE9F9E251}"/>
          </ac:spMkLst>
        </pc:spChg>
        <pc:spChg chg="mod">
          <ac:chgData name="Divya Rank" userId="8a86f94f-bc51-45b1-baba-7f5d30607298" providerId="ADAL" clId="{12126C74-8380-4416-AB41-D42486FEE1A5}" dt="2025-06-13T13:52:47.744" v="3829" actId="6549"/>
          <ac:spMkLst>
            <pc:docMk/>
            <pc:sldMk cId="2783753630" sldId="1530"/>
            <ac:spMk id="61" creationId="{14527AD8-FEEF-8161-3514-CF36932D5EEC}"/>
          </ac:spMkLst>
        </pc:spChg>
        <pc:spChg chg="mod">
          <ac:chgData name="Divya Rank" userId="8a86f94f-bc51-45b1-baba-7f5d30607298" providerId="ADAL" clId="{12126C74-8380-4416-AB41-D42486FEE1A5}" dt="2025-06-13T13:52:03.488" v="3810" actId="404"/>
          <ac:spMkLst>
            <pc:docMk/>
            <pc:sldMk cId="2783753630" sldId="1530"/>
            <ac:spMk id="62" creationId="{BB15D844-C152-BFD4-7BB9-C87F92A9629D}"/>
          </ac:spMkLst>
        </pc:spChg>
      </pc:sldChg>
      <pc:sldChg chg="addSp delSp modSp mod">
        <pc:chgData name="Divya Rank" userId="8a86f94f-bc51-45b1-baba-7f5d30607298" providerId="ADAL" clId="{12126C74-8380-4416-AB41-D42486FEE1A5}" dt="2025-06-13T13:48:04.206" v="3648" actId="14100"/>
        <pc:sldMkLst>
          <pc:docMk/>
          <pc:sldMk cId="1877375160" sldId="1531"/>
        </pc:sldMkLst>
        <pc:spChg chg="mod">
          <ac:chgData name="Divya Rank" userId="8a86f94f-bc51-45b1-baba-7f5d30607298" providerId="ADAL" clId="{12126C74-8380-4416-AB41-D42486FEE1A5}" dt="2025-06-13T13:35:48.442" v="2923" actId="1036"/>
          <ac:spMkLst>
            <pc:docMk/>
            <pc:sldMk cId="1877375160" sldId="1531"/>
            <ac:spMk id="2" creationId="{F8DEE4AB-E2B6-D61E-F1FB-D35C40E96D33}"/>
          </ac:spMkLst>
        </pc:spChg>
        <pc:spChg chg="add mod">
          <ac:chgData name="Divya Rank" userId="8a86f94f-bc51-45b1-baba-7f5d30607298" providerId="ADAL" clId="{12126C74-8380-4416-AB41-D42486FEE1A5}" dt="2025-06-13T13:47:56.030" v="3646"/>
          <ac:spMkLst>
            <pc:docMk/>
            <pc:sldMk cId="1877375160" sldId="1531"/>
            <ac:spMk id="3" creationId="{0609D404-C5C8-3DF9-9204-62CBC05FC839}"/>
          </ac:spMkLst>
        </pc:spChg>
        <pc:spChg chg="mod">
          <ac:chgData name="Divya Rank" userId="8a86f94f-bc51-45b1-baba-7f5d30607298" providerId="ADAL" clId="{12126C74-8380-4416-AB41-D42486FEE1A5}" dt="2025-06-13T13:48:04.206" v="3648" actId="14100"/>
          <ac:spMkLst>
            <pc:docMk/>
            <pc:sldMk cId="1877375160" sldId="1531"/>
            <ac:spMk id="5" creationId="{06134507-591E-9B63-32E4-DD9802566E55}"/>
          </ac:spMkLst>
        </pc:spChg>
        <pc:spChg chg="mod">
          <ac:chgData name="Divya Rank" userId="8a86f94f-bc51-45b1-baba-7f5d30607298" providerId="ADAL" clId="{12126C74-8380-4416-AB41-D42486FEE1A5}" dt="2025-06-13T13:48:04.206" v="3648" actId="14100"/>
          <ac:spMkLst>
            <pc:docMk/>
            <pc:sldMk cId="1877375160" sldId="1531"/>
            <ac:spMk id="24" creationId="{8679BE2D-464E-DFD2-1F52-04C886604E62}"/>
          </ac:spMkLst>
        </pc:spChg>
      </pc:sldChg>
      <pc:sldChg chg="modSp mod">
        <pc:chgData name="Divya Rank" userId="8a86f94f-bc51-45b1-baba-7f5d30607298" providerId="ADAL" clId="{12126C74-8380-4416-AB41-D42486FEE1A5}" dt="2025-06-13T13:47:48.478" v="3644" actId="14100"/>
        <pc:sldMkLst>
          <pc:docMk/>
          <pc:sldMk cId="2837506100" sldId="1532"/>
        </pc:sldMkLst>
        <pc:spChg chg="mod">
          <ac:chgData name="Divya Rank" userId="8a86f94f-bc51-45b1-baba-7f5d30607298" providerId="ADAL" clId="{12126C74-8380-4416-AB41-D42486FEE1A5}" dt="2025-06-13T13:35:52.657" v="2935" actId="1036"/>
          <ac:spMkLst>
            <pc:docMk/>
            <pc:sldMk cId="2837506100" sldId="1532"/>
            <ac:spMk id="2" creationId="{D1157377-1193-16DD-54E8-C4B83A625220}"/>
          </ac:spMkLst>
        </pc:spChg>
        <pc:spChg chg="mod">
          <ac:chgData name="Divya Rank" userId="8a86f94f-bc51-45b1-baba-7f5d30607298" providerId="ADAL" clId="{12126C74-8380-4416-AB41-D42486FEE1A5}" dt="2025-06-13T13:47:48.478" v="3644" actId="14100"/>
          <ac:spMkLst>
            <pc:docMk/>
            <pc:sldMk cId="2837506100" sldId="1532"/>
            <ac:spMk id="5" creationId="{4F739E82-6852-CA6A-0059-56898CA6AE53}"/>
          </ac:spMkLst>
        </pc:spChg>
        <pc:spChg chg="mod">
          <ac:chgData name="Divya Rank" userId="8a86f94f-bc51-45b1-baba-7f5d30607298" providerId="ADAL" clId="{12126C74-8380-4416-AB41-D42486FEE1A5}" dt="2025-06-13T13:47:48.478" v="3644" actId="14100"/>
          <ac:spMkLst>
            <pc:docMk/>
            <pc:sldMk cId="2837506100" sldId="1532"/>
            <ac:spMk id="24" creationId="{837DD541-D3DB-4C96-7298-3B49011D8701}"/>
          </ac:spMkLst>
        </pc:spChg>
        <pc:spChg chg="mod">
          <ac:chgData name="Divya Rank" userId="8a86f94f-bc51-45b1-baba-7f5d30607298" providerId="ADAL" clId="{12126C74-8380-4416-AB41-D42486FEE1A5}" dt="2025-06-13T13:47:38.778" v="3642" actId="404"/>
          <ac:spMkLst>
            <pc:docMk/>
            <pc:sldMk cId="2837506100" sldId="1532"/>
            <ac:spMk id="27" creationId="{D2831AA7-E7FF-5BDE-C5FA-16A05A2E4B03}"/>
          </ac:spMkLst>
        </pc:spChg>
      </pc:sldChg>
      <pc:sldChg chg="addSp delSp modSp mod">
        <pc:chgData name="Divya Rank" userId="8a86f94f-bc51-45b1-baba-7f5d30607298" providerId="ADAL" clId="{12126C74-8380-4416-AB41-D42486FEE1A5}" dt="2025-06-13T13:47:22.702" v="3639" actId="20577"/>
        <pc:sldMkLst>
          <pc:docMk/>
          <pc:sldMk cId="3710522729" sldId="1533"/>
        </pc:sldMkLst>
        <pc:spChg chg="mod">
          <ac:chgData name="Divya Rank" userId="8a86f94f-bc51-45b1-baba-7f5d30607298" providerId="ADAL" clId="{12126C74-8380-4416-AB41-D42486FEE1A5}" dt="2025-06-13T13:35:57.004" v="2947" actId="1035"/>
          <ac:spMkLst>
            <pc:docMk/>
            <pc:sldMk cId="3710522729" sldId="1533"/>
            <ac:spMk id="2" creationId="{C56EB967-0BB0-CF50-EF9A-37C3FC079318}"/>
          </ac:spMkLst>
        </pc:spChg>
        <pc:spChg chg="mod">
          <ac:chgData name="Divya Rank" userId="8a86f94f-bc51-45b1-baba-7f5d30607298" providerId="ADAL" clId="{12126C74-8380-4416-AB41-D42486FEE1A5}" dt="2025-06-13T13:47:22.702" v="3639" actId="20577"/>
          <ac:spMkLst>
            <pc:docMk/>
            <pc:sldMk cId="3710522729" sldId="1533"/>
            <ac:spMk id="8" creationId="{B6E92D07-FD49-7B9F-1D15-3F3796B03D37}"/>
          </ac:spMkLst>
        </pc:spChg>
      </pc:sldChg>
      <pc:sldChg chg="addSp delSp modSp mod">
        <pc:chgData name="Divya Rank" userId="8a86f94f-bc51-45b1-baba-7f5d30607298" providerId="ADAL" clId="{12126C74-8380-4416-AB41-D42486FEE1A5}" dt="2025-06-13T13:45:12.634" v="3604"/>
        <pc:sldMkLst>
          <pc:docMk/>
          <pc:sldMk cId="2430113203" sldId="1534"/>
        </pc:sldMkLst>
        <pc:spChg chg="mod">
          <ac:chgData name="Divya Rank" userId="8a86f94f-bc51-45b1-baba-7f5d30607298" providerId="ADAL" clId="{12126C74-8380-4416-AB41-D42486FEE1A5}" dt="2025-06-13T13:36:01.576" v="2959" actId="1036"/>
          <ac:spMkLst>
            <pc:docMk/>
            <pc:sldMk cId="2430113203" sldId="1534"/>
            <ac:spMk id="2" creationId="{EA7D1AED-612E-023B-2BC2-DE85FB8BC677}"/>
          </ac:spMkLst>
        </pc:spChg>
        <pc:spChg chg="mod">
          <ac:chgData name="Divya Rank" userId="8a86f94f-bc51-45b1-baba-7f5d30607298" providerId="ADAL" clId="{12126C74-8380-4416-AB41-D42486FEE1A5}" dt="2025-06-13T13:44:48.046" v="3593" actId="14100"/>
          <ac:spMkLst>
            <pc:docMk/>
            <pc:sldMk cId="2430113203" sldId="1534"/>
            <ac:spMk id="3" creationId="{AD06EDC1-4F17-C5C0-54E7-9A54E9F1918C}"/>
          </ac:spMkLst>
        </pc:spChg>
        <pc:spChg chg="mod">
          <ac:chgData name="Divya Rank" userId="8a86f94f-bc51-45b1-baba-7f5d30607298" providerId="ADAL" clId="{12126C74-8380-4416-AB41-D42486FEE1A5}" dt="2025-06-13T13:44:48.046" v="3593" actId="14100"/>
          <ac:spMkLst>
            <pc:docMk/>
            <pc:sldMk cId="2430113203" sldId="1534"/>
            <ac:spMk id="7" creationId="{B0AA0CB2-3D40-B54D-DE53-ED6A996D443D}"/>
          </ac:spMkLst>
        </pc:spChg>
        <pc:spChg chg="add mod">
          <ac:chgData name="Divya Rank" userId="8a86f94f-bc51-45b1-baba-7f5d30607298" providerId="ADAL" clId="{12126C74-8380-4416-AB41-D42486FEE1A5}" dt="2025-06-13T13:45:12.634" v="3604"/>
          <ac:spMkLst>
            <pc:docMk/>
            <pc:sldMk cId="2430113203" sldId="1534"/>
            <ac:spMk id="12" creationId="{38E5F3C4-A6D2-886B-241D-6B76E7FA9F67}"/>
          </ac:spMkLst>
        </pc:spChg>
      </pc:sldChg>
      <pc:sldChg chg="modSp mod">
        <pc:chgData name="Divya Rank" userId="8a86f94f-bc51-45b1-baba-7f5d30607298" providerId="ADAL" clId="{12126C74-8380-4416-AB41-D42486FEE1A5}" dt="2025-06-13T13:45:04.805" v="3602" actId="1035"/>
        <pc:sldMkLst>
          <pc:docMk/>
          <pc:sldMk cId="1146646944" sldId="1535"/>
        </pc:sldMkLst>
        <pc:spChg chg="mod">
          <ac:chgData name="Divya Rank" userId="8a86f94f-bc51-45b1-baba-7f5d30607298" providerId="ADAL" clId="{12126C74-8380-4416-AB41-D42486FEE1A5}" dt="2025-06-13T13:36:05.551" v="2971" actId="1036"/>
          <ac:spMkLst>
            <pc:docMk/>
            <pc:sldMk cId="1146646944" sldId="1535"/>
            <ac:spMk id="2" creationId="{5FA0DE29-15F7-7DAE-18B7-BAC196343D50}"/>
          </ac:spMkLst>
        </pc:spChg>
        <pc:spChg chg="mod">
          <ac:chgData name="Divya Rank" userId="8a86f94f-bc51-45b1-baba-7f5d30607298" providerId="ADAL" clId="{12126C74-8380-4416-AB41-D42486FEE1A5}" dt="2025-06-13T13:44:30.946" v="3591" actId="14100"/>
          <ac:spMkLst>
            <pc:docMk/>
            <pc:sldMk cId="1146646944" sldId="1535"/>
            <ac:spMk id="3" creationId="{0F168ADC-2797-1FB5-3849-29310788994B}"/>
          </ac:spMkLst>
        </pc:spChg>
        <pc:spChg chg="mod">
          <ac:chgData name="Divya Rank" userId="8a86f94f-bc51-45b1-baba-7f5d30607298" providerId="ADAL" clId="{12126C74-8380-4416-AB41-D42486FEE1A5}" dt="2025-06-13T13:44:30.946" v="3591" actId="14100"/>
          <ac:spMkLst>
            <pc:docMk/>
            <pc:sldMk cId="1146646944" sldId="1535"/>
            <ac:spMk id="7" creationId="{368B4E2D-4EDD-78AB-DB67-2D8AA2B7F476}"/>
          </ac:spMkLst>
        </pc:spChg>
        <pc:spChg chg="mod">
          <ac:chgData name="Divya Rank" userId="8a86f94f-bc51-45b1-baba-7f5d30607298" providerId="ADAL" clId="{12126C74-8380-4416-AB41-D42486FEE1A5}" dt="2025-06-13T13:45:04.805" v="3602" actId="1035"/>
          <ac:spMkLst>
            <pc:docMk/>
            <pc:sldMk cId="1146646944" sldId="1535"/>
            <ac:spMk id="8" creationId="{4969DE19-7EFA-35DD-B76C-CAE90FCF580A}"/>
          </ac:spMkLst>
        </pc:spChg>
      </pc:sldChg>
      <pc:sldChg chg="modSp mod">
        <pc:chgData name="Divya Rank" userId="8a86f94f-bc51-45b1-baba-7f5d30607298" providerId="ADAL" clId="{12126C74-8380-4416-AB41-D42486FEE1A5}" dt="2025-06-13T13:53:52.034" v="3834" actId="1035"/>
        <pc:sldMkLst>
          <pc:docMk/>
          <pc:sldMk cId="3814979771" sldId="1536"/>
        </pc:sldMkLst>
        <pc:spChg chg="mod">
          <ac:chgData name="Divya Rank" userId="8a86f94f-bc51-45b1-baba-7f5d30607298" providerId="ADAL" clId="{12126C74-8380-4416-AB41-D42486FEE1A5}" dt="2025-06-13T13:53:52.034" v="3834" actId="1035"/>
          <ac:spMkLst>
            <pc:docMk/>
            <pc:sldMk cId="3814979771" sldId="1536"/>
            <ac:spMk id="2" creationId="{397DBF49-DC84-B52E-8B2D-EDC6E1EEC1E8}"/>
          </ac:spMkLst>
        </pc:spChg>
      </pc:sldChg>
      <pc:sldChg chg="modSp mod">
        <pc:chgData name="Divya Rank" userId="8a86f94f-bc51-45b1-baba-7f5d30607298" providerId="ADAL" clId="{12126C74-8380-4416-AB41-D42486FEE1A5}" dt="2025-06-13T15:19:13.845" v="5700" actId="14100"/>
        <pc:sldMkLst>
          <pc:docMk/>
          <pc:sldMk cId="3640246564" sldId="1537"/>
        </pc:sldMkLst>
        <pc:spChg chg="mod">
          <ac:chgData name="Divya Rank" userId="8a86f94f-bc51-45b1-baba-7f5d30607298" providerId="ADAL" clId="{12126C74-8380-4416-AB41-D42486FEE1A5}" dt="2025-06-13T13:36:18.104" v="3012" actId="1036"/>
          <ac:spMkLst>
            <pc:docMk/>
            <pc:sldMk cId="3640246564" sldId="1537"/>
            <ac:spMk id="2" creationId="{615A445A-CFBB-FE1D-373D-7CC69C1D1085}"/>
          </ac:spMkLst>
        </pc:spChg>
        <pc:spChg chg="mod">
          <ac:chgData name="Divya Rank" userId="8a86f94f-bc51-45b1-baba-7f5d30607298" providerId="ADAL" clId="{12126C74-8380-4416-AB41-D42486FEE1A5}" dt="2025-06-13T15:19:13.845" v="5700" actId="14100"/>
          <ac:spMkLst>
            <pc:docMk/>
            <pc:sldMk cId="3640246564" sldId="1537"/>
            <ac:spMk id="3" creationId="{7402E845-718B-B003-59CC-220525592D6E}"/>
          </ac:spMkLst>
        </pc:spChg>
        <pc:spChg chg="mod">
          <ac:chgData name="Divya Rank" userId="8a86f94f-bc51-45b1-baba-7f5d30607298" providerId="ADAL" clId="{12126C74-8380-4416-AB41-D42486FEE1A5}" dt="2025-06-13T13:44:07.591" v="3587" actId="14100"/>
          <ac:spMkLst>
            <pc:docMk/>
            <pc:sldMk cId="3640246564" sldId="1537"/>
            <ac:spMk id="7" creationId="{7F1B10AC-D13A-840E-0A1D-08994E35C671}"/>
          </ac:spMkLst>
        </pc:spChg>
        <pc:spChg chg="mod">
          <ac:chgData name="Divya Rank" userId="8a86f94f-bc51-45b1-baba-7f5d30607298" providerId="ADAL" clId="{12126C74-8380-4416-AB41-D42486FEE1A5}" dt="2025-06-13T13:43:31.213" v="3581" actId="1035"/>
          <ac:spMkLst>
            <pc:docMk/>
            <pc:sldMk cId="3640246564" sldId="1537"/>
            <ac:spMk id="8" creationId="{7B07BAF1-99E6-B8E6-948F-DC17284F27C1}"/>
          </ac:spMkLst>
        </pc:spChg>
      </pc:sldChg>
      <pc:sldChg chg="addSp delSp modSp mod">
        <pc:chgData name="Divya Rank" userId="8a86f94f-bc51-45b1-baba-7f5d30607298" providerId="ADAL" clId="{12126C74-8380-4416-AB41-D42486FEE1A5}" dt="2025-06-13T15:19:52.686" v="5705" actId="14100"/>
        <pc:sldMkLst>
          <pc:docMk/>
          <pc:sldMk cId="3956876099" sldId="1538"/>
        </pc:sldMkLst>
        <pc:spChg chg="mod">
          <ac:chgData name="Divya Rank" userId="8a86f94f-bc51-45b1-baba-7f5d30607298" providerId="ADAL" clId="{12126C74-8380-4416-AB41-D42486FEE1A5}" dt="2025-06-13T13:36:13.705" v="2998" actId="1036"/>
          <ac:spMkLst>
            <pc:docMk/>
            <pc:sldMk cId="3956876099" sldId="1538"/>
            <ac:spMk id="2" creationId="{8D18E555-32CF-9F0E-7E45-04A5291DE61C}"/>
          </ac:spMkLst>
        </pc:spChg>
        <pc:spChg chg="mod">
          <ac:chgData name="Divya Rank" userId="8a86f94f-bc51-45b1-baba-7f5d30607298" providerId="ADAL" clId="{12126C74-8380-4416-AB41-D42486FEE1A5}" dt="2025-06-13T15:19:44.392" v="5703" actId="14"/>
          <ac:spMkLst>
            <pc:docMk/>
            <pc:sldMk cId="3956876099" sldId="1538"/>
            <ac:spMk id="3" creationId="{CB090951-86C8-3505-FE1A-5199224519DC}"/>
          </ac:spMkLst>
        </pc:spChg>
        <pc:spChg chg="add mod">
          <ac:chgData name="Divya Rank" userId="8a86f94f-bc51-45b1-baba-7f5d30607298" providerId="ADAL" clId="{12126C74-8380-4416-AB41-D42486FEE1A5}" dt="2025-06-13T13:43:36.376" v="3583"/>
          <ac:spMkLst>
            <pc:docMk/>
            <pc:sldMk cId="3956876099" sldId="1538"/>
            <ac:spMk id="4" creationId="{F0CD3FD2-866B-9F34-E0D0-F581D51F1B82}"/>
          </ac:spMkLst>
        </pc:spChg>
        <pc:spChg chg="mod">
          <ac:chgData name="Divya Rank" userId="8a86f94f-bc51-45b1-baba-7f5d30607298" providerId="ADAL" clId="{12126C74-8380-4416-AB41-D42486FEE1A5}" dt="2025-06-13T15:19:52.686" v="5705" actId="14100"/>
          <ac:spMkLst>
            <pc:docMk/>
            <pc:sldMk cId="3956876099" sldId="1538"/>
            <ac:spMk id="7" creationId="{41599267-910C-8FD6-44B3-861E98D3AAC0}"/>
          </ac:spMkLst>
        </pc:spChg>
      </pc:sldChg>
      <pc:sldChg chg="modSp mod">
        <pc:chgData name="Divya Rank" userId="8a86f94f-bc51-45b1-baba-7f5d30607298" providerId="ADAL" clId="{12126C74-8380-4416-AB41-D42486FEE1A5}" dt="2025-06-13T13:36:21.564" v="3022" actId="1036"/>
        <pc:sldMkLst>
          <pc:docMk/>
          <pc:sldMk cId="255147479" sldId="1539"/>
        </pc:sldMkLst>
        <pc:spChg chg="mod">
          <ac:chgData name="Divya Rank" userId="8a86f94f-bc51-45b1-baba-7f5d30607298" providerId="ADAL" clId="{12126C74-8380-4416-AB41-D42486FEE1A5}" dt="2025-06-13T13:36:21.564" v="3022" actId="1036"/>
          <ac:spMkLst>
            <pc:docMk/>
            <pc:sldMk cId="255147479" sldId="1539"/>
            <ac:spMk id="2" creationId="{AB32D2B5-EE2D-C646-6615-6C2AC2EE167F}"/>
          </ac:spMkLst>
        </pc:spChg>
      </pc:sldChg>
      <pc:sldChg chg="modSp mod">
        <pc:chgData name="Divya Rank" userId="8a86f94f-bc51-45b1-baba-7f5d30607298" providerId="ADAL" clId="{12126C74-8380-4416-AB41-D42486FEE1A5}" dt="2025-06-13T13:53:24.854" v="3830" actId="1035"/>
        <pc:sldMkLst>
          <pc:docMk/>
          <pc:sldMk cId="394788488" sldId="1540"/>
        </pc:sldMkLst>
        <pc:spChg chg="mod">
          <ac:chgData name="Divya Rank" userId="8a86f94f-bc51-45b1-baba-7f5d30607298" providerId="ADAL" clId="{12126C74-8380-4416-AB41-D42486FEE1A5}" dt="2025-06-13T13:53:24.854" v="3830" actId="1035"/>
          <ac:spMkLst>
            <pc:docMk/>
            <pc:sldMk cId="394788488" sldId="1540"/>
            <ac:spMk id="2" creationId="{01C4DD80-F772-2285-0EFC-8DA9C34E5EFD}"/>
          </ac:spMkLst>
        </pc:spChg>
        <pc:spChg chg="mod">
          <ac:chgData name="Divya Rank" userId="8a86f94f-bc51-45b1-baba-7f5d30607298" providerId="ADAL" clId="{12126C74-8380-4416-AB41-D42486FEE1A5}" dt="2025-06-13T13:43:07.377" v="3572" actId="1036"/>
          <ac:spMkLst>
            <pc:docMk/>
            <pc:sldMk cId="394788488" sldId="1540"/>
            <ac:spMk id="8" creationId="{27DDFAD9-17B6-D044-AD58-A7B7F971DBEE}"/>
          </ac:spMkLst>
        </pc:spChg>
      </pc:sldChg>
      <pc:sldChg chg="addSp delSp modSp mod">
        <pc:chgData name="Divya Rank" userId="8a86f94f-bc51-45b1-baba-7f5d30607298" providerId="ADAL" clId="{12126C74-8380-4416-AB41-D42486FEE1A5}" dt="2025-06-13T13:43:17.728" v="3574"/>
        <pc:sldMkLst>
          <pc:docMk/>
          <pc:sldMk cId="3029737752" sldId="1541"/>
        </pc:sldMkLst>
        <pc:spChg chg="mod">
          <ac:chgData name="Divya Rank" userId="8a86f94f-bc51-45b1-baba-7f5d30607298" providerId="ADAL" clId="{12126C74-8380-4416-AB41-D42486FEE1A5}" dt="2025-06-13T13:36:25.120" v="3032" actId="1036"/>
          <ac:spMkLst>
            <pc:docMk/>
            <pc:sldMk cId="3029737752" sldId="1541"/>
            <ac:spMk id="2" creationId="{5E1C2FC9-13E4-79DC-D1A8-EE8BFB18B2B9}"/>
          </ac:spMkLst>
        </pc:spChg>
        <pc:spChg chg="add mod">
          <ac:chgData name="Divya Rank" userId="8a86f94f-bc51-45b1-baba-7f5d30607298" providerId="ADAL" clId="{12126C74-8380-4416-AB41-D42486FEE1A5}" dt="2025-06-13T13:43:17.728" v="3574"/>
          <ac:spMkLst>
            <pc:docMk/>
            <pc:sldMk cId="3029737752" sldId="1541"/>
            <ac:spMk id="4" creationId="{57DAF70F-1CE0-6818-A881-E711B132E7C4}"/>
          </ac:spMkLst>
        </pc:spChg>
      </pc:sldChg>
      <pc:sldChg chg="modSp mod">
        <pc:chgData name="Divya Rank" userId="8a86f94f-bc51-45b1-baba-7f5d30607298" providerId="ADAL" clId="{12126C74-8380-4416-AB41-D42486FEE1A5}" dt="2025-06-13T13:36:37.124" v="3065" actId="1036"/>
        <pc:sldMkLst>
          <pc:docMk/>
          <pc:sldMk cId="1744534717" sldId="1542"/>
        </pc:sldMkLst>
        <pc:spChg chg="mod">
          <ac:chgData name="Divya Rank" userId="8a86f94f-bc51-45b1-baba-7f5d30607298" providerId="ADAL" clId="{12126C74-8380-4416-AB41-D42486FEE1A5}" dt="2025-06-13T13:36:37.124" v="3065" actId="1036"/>
          <ac:spMkLst>
            <pc:docMk/>
            <pc:sldMk cId="1744534717" sldId="1542"/>
            <ac:spMk id="2" creationId="{E706B3EF-0FE2-171D-F145-D0D26AABF18B}"/>
          </ac:spMkLst>
        </pc:spChg>
      </pc:sldChg>
      <pc:sldChg chg="modSp mod">
        <pc:chgData name="Divya Rank" userId="8a86f94f-bc51-45b1-baba-7f5d30607298" providerId="ADAL" clId="{12126C74-8380-4416-AB41-D42486FEE1A5}" dt="2025-06-13T13:38:40.860" v="3141" actId="404"/>
        <pc:sldMkLst>
          <pc:docMk/>
          <pc:sldMk cId="471338121" sldId="1543"/>
        </pc:sldMkLst>
        <pc:spChg chg="mod">
          <ac:chgData name="Divya Rank" userId="8a86f94f-bc51-45b1-baba-7f5d30607298" providerId="ADAL" clId="{12126C74-8380-4416-AB41-D42486FEE1A5}" dt="2025-06-13T13:36:45.559" v="3081" actId="1036"/>
          <ac:spMkLst>
            <pc:docMk/>
            <pc:sldMk cId="471338121" sldId="1543"/>
            <ac:spMk id="2" creationId="{BEA18BF2-79D8-1822-0DB2-EC62E21C49F1}"/>
          </ac:spMkLst>
        </pc:spChg>
        <pc:spChg chg="mod">
          <ac:chgData name="Divya Rank" userId="8a86f94f-bc51-45b1-baba-7f5d30607298" providerId="ADAL" clId="{12126C74-8380-4416-AB41-D42486FEE1A5}" dt="2025-06-13T13:33:36.097" v="2802" actId="1036"/>
          <ac:spMkLst>
            <pc:docMk/>
            <pc:sldMk cId="471338121" sldId="1543"/>
            <ac:spMk id="3" creationId="{E8E93709-67D9-B7E1-8BF9-9C1F16AC4A3D}"/>
          </ac:spMkLst>
        </pc:spChg>
        <pc:spChg chg="mod">
          <ac:chgData name="Divya Rank" userId="8a86f94f-bc51-45b1-baba-7f5d30607298" providerId="ADAL" clId="{12126C74-8380-4416-AB41-D42486FEE1A5}" dt="2025-06-13T13:33:36.097" v="2802" actId="1036"/>
          <ac:spMkLst>
            <pc:docMk/>
            <pc:sldMk cId="471338121" sldId="1543"/>
            <ac:spMk id="7" creationId="{D44D3F4F-D91C-CD73-5D4C-F10DB8A740B7}"/>
          </ac:spMkLst>
        </pc:spChg>
        <pc:spChg chg="mod">
          <ac:chgData name="Divya Rank" userId="8a86f94f-bc51-45b1-baba-7f5d30607298" providerId="ADAL" clId="{12126C74-8380-4416-AB41-D42486FEE1A5}" dt="2025-06-13T13:38:40.860" v="3141" actId="404"/>
          <ac:spMkLst>
            <pc:docMk/>
            <pc:sldMk cId="471338121" sldId="1543"/>
            <ac:spMk id="8" creationId="{8E605B07-3836-B5F6-5DF3-421686F95DD0}"/>
          </ac:spMkLst>
        </pc:spChg>
      </pc:sldChg>
      <pc:sldChg chg="addSp delSp modSp mod">
        <pc:chgData name="Divya Rank" userId="8a86f94f-bc51-45b1-baba-7f5d30607298" providerId="ADAL" clId="{12126C74-8380-4416-AB41-D42486FEE1A5}" dt="2025-06-13T13:38:31.163" v="3140" actId="14100"/>
        <pc:sldMkLst>
          <pc:docMk/>
          <pc:sldMk cId="131038411" sldId="1544"/>
        </pc:sldMkLst>
        <pc:spChg chg="mod">
          <ac:chgData name="Divya Rank" userId="8a86f94f-bc51-45b1-baba-7f5d30607298" providerId="ADAL" clId="{12126C74-8380-4416-AB41-D42486FEE1A5}" dt="2025-06-13T13:32:16.971" v="2750" actId="1036"/>
          <ac:spMkLst>
            <pc:docMk/>
            <pc:sldMk cId="131038411" sldId="1544"/>
            <ac:spMk id="2" creationId="{5DA60617-DC94-4245-7D50-6E8337539167}"/>
          </ac:spMkLst>
        </pc:spChg>
        <pc:spChg chg="mod">
          <ac:chgData name="Divya Rank" userId="8a86f94f-bc51-45b1-baba-7f5d30607298" providerId="ADAL" clId="{12126C74-8380-4416-AB41-D42486FEE1A5}" dt="2025-06-13T13:38:20.094" v="3139" actId="1036"/>
          <ac:spMkLst>
            <pc:docMk/>
            <pc:sldMk cId="131038411" sldId="1544"/>
            <ac:spMk id="3" creationId="{DC4F81B6-226F-7951-B97D-8F63877F9791}"/>
          </ac:spMkLst>
        </pc:spChg>
        <pc:spChg chg="mod">
          <ac:chgData name="Divya Rank" userId="8a86f94f-bc51-45b1-baba-7f5d30607298" providerId="ADAL" clId="{12126C74-8380-4416-AB41-D42486FEE1A5}" dt="2025-06-13T13:38:31.163" v="3140" actId="14100"/>
          <ac:spMkLst>
            <pc:docMk/>
            <pc:sldMk cId="131038411" sldId="1544"/>
            <ac:spMk id="17" creationId="{00E8CED2-DB3A-B1A1-8AAB-9C1DCFB1D4EE}"/>
          </ac:spMkLst>
        </pc:spChg>
        <pc:spChg chg="add mod">
          <ac:chgData name="Divya Rank" userId="8a86f94f-bc51-45b1-baba-7f5d30607298" providerId="ADAL" clId="{12126C74-8380-4416-AB41-D42486FEE1A5}" dt="2025-06-13T13:37:42.721" v="3133"/>
          <ac:spMkLst>
            <pc:docMk/>
            <pc:sldMk cId="131038411" sldId="1544"/>
            <ac:spMk id="42" creationId="{0B9592E5-5235-956A-2F77-7164A234FCE7}"/>
          </ac:spMkLst>
        </pc:spChg>
      </pc:sldChg>
      <pc:sldChg chg="addSp delSp modSp add mod">
        <pc:chgData name="Divya Rank" userId="8a86f94f-bc51-45b1-baba-7f5d30607298" providerId="ADAL" clId="{12126C74-8380-4416-AB41-D42486FEE1A5}" dt="2025-06-13T13:11:02.958" v="1860" actId="1076"/>
        <pc:sldMkLst>
          <pc:docMk/>
          <pc:sldMk cId="1013597385" sldId="1545"/>
        </pc:sldMkLst>
        <pc:spChg chg="mod">
          <ac:chgData name="Divya Rank" userId="8a86f94f-bc51-45b1-baba-7f5d30607298" providerId="ADAL" clId="{12126C74-8380-4416-AB41-D42486FEE1A5}" dt="2025-06-13T13:04:02.015" v="1653" actId="21"/>
          <ac:spMkLst>
            <pc:docMk/>
            <pc:sldMk cId="1013597385" sldId="1545"/>
            <ac:spMk id="3" creationId="{51C9DCFC-864A-8B07-68E5-1CE056479818}"/>
          </ac:spMkLst>
        </pc:spChg>
        <pc:spChg chg="mod">
          <ac:chgData name="Divya Rank" userId="8a86f94f-bc51-45b1-baba-7f5d30607298" providerId="ADAL" clId="{12126C74-8380-4416-AB41-D42486FEE1A5}" dt="2025-06-13T13:04:12.094" v="1656" actId="21"/>
          <ac:spMkLst>
            <pc:docMk/>
            <pc:sldMk cId="1013597385" sldId="1545"/>
            <ac:spMk id="6" creationId="{476763D2-FCA3-ECC2-297F-D6490E637601}"/>
          </ac:spMkLst>
        </pc:spChg>
        <pc:spChg chg="mod topLvl">
          <ac:chgData name="Divya Rank" userId="8a86f94f-bc51-45b1-baba-7f5d30607298" providerId="ADAL" clId="{12126C74-8380-4416-AB41-D42486FEE1A5}" dt="2025-06-13T13:10:01.784" v="1849" actId="14100"/>
          <ac:spMkLst>
            <pc:docMk/>
            <pc:sldMk cId="1013597385" sldId="1545"/>
            <ac:spMk id="9" creationId="{2203755A-E84F-3998-9BC3-331780DA7157}"/>
          </ac:spMkLst>
        </pc:spChg>
        <pc:spChg chg="mod topLvl">
          <ac:chgData name="Divya Rank" userId="8a86f94f-bc51-45b1-baba-7f5d30607298" providerId="ADAL" clId="{12126C74-8380-4416-AB41-D42486FEE1A5}" dt="2025-06-13T13:10:37.614" v="1855" actId="1036"/>
          <ac:spMkLst>
            <pc:docMk/>
            <pc:sldMk cId="1013597385" sldId="1545"/>
            <ac:spMk id="12" creationId="{0F79E240-51D3-91AC-A04A-8D5515ADA060}"/>
          </ac:spMkLst>
        </pc:spChg>
        <pc:spChg chg="mod topLvl">
          <ac:chgData name="Divya Rank" userId="8a86f94f-bc51-45b1-baba-7f5d30607298" providerId="ADAL" clId="{12126C74-8380-4416-AB41-D42486FEE1A5}" dt="2025-06-13T13:10:07.387" v="1850" actId="14100"/>
          <ac:spMkLst>
            <pc:docMk/>
            <pc:sldMk cId="1013597385" sldId="1545"/>
            <ac:spMk id="15" creationId="{1CDB036D-DA4C-9D00-6053-57D4DFB332F1}"/>
          </ac:spMkLst>
        </pc:spChg>
        <pc:spChg chg="mod topLvl">
          <ac:chgData name="Divya Rank" userId="8a86f94f-bc51-45b1-baba-7f5d30607298" providerId="ADAL" clId="{12126C74-8380-4416-AB41-D42486FEE1A5}" dt="2025-06-13T13:10:55.711" v="1857" actId="1076"/>
          <ac:spMkLst>
            <pc:docMk/>
            <pc:sldMk cId="1013597385" sldId="1545"/>
            <ac:spMk id="30" creationId="{AC70246E-23A4-4A18-1F83-181661C96B59}"/>
          </ac:spMkLst>
        </pc:spChg>
        <pc:spChg chg="add del mod">
          <ac:chgData name="Divya Rank" userId="8a86f94f-bc51-45b1-baba-7f5d30607298" providerId="ADAL" clId="{12126C74-8380-4416-AB41-D42486FEE1A5}" dt="2025-06-13T13:04:18.077" v="1661" actId="20577"/>
          <ac:spMkLst>
            <pc:docMk/>
            <pc:sldMk cId="1013597385" sldId="1545"/>
            <ac:spMk id="32" creationId="{C45EC717-BE71-DDFC-3615-9D900BC7B257}"/>
          </ac:spMkLst>
        </pc:spChg>
        <pc:grpChg chg="add">
          <ac:chgData name="Divya Rank" userId="8a86f94f-bc51-45b1-baba-7f5d30607298" providerId="ADAL" clId="{12126C74-8380-4416-AB41-D42486FEE1A5}" dt="2025-06-13T13:10:48.779" v="1856" actId="164"/>
          <ac:grpSpMkLst>
            <pc:docMk/>
            <pc:sldMk cId="1013597385" sldId="1545"/>
            <ac:grpSpMk id="22" creationId="{204652ED-F0D8-A02D-DFBD-0D847FEEB223}"/>
          </ac:grpSpMkLst>
        </pc:grpChg>
        <pc:grpChg chg="add">
          <ac:chgData name="Divya Rank" userId="8a86f94f-bc51-45b1-baba-7f5d30607298" providerId="ADAL" clId="{12126C74-8380-4416-AB41-D42486FEE1A5}" dt="2025-06-13T13:10:57.094" v="1858" actId="164"/>
          <ac:grpSpMkLst>
            <pc:docMk/>
            <pc:sldMk cId="1013597385" sldId="1545"/>
            <ac:grpSpMk id="23" creationId="{4E510E0E-D598-3C7C-C9D6-B609F9D04FB5}"/>
          </ac:grpSpMkLst>
        </pc:grpChg>
        <pc:grpChg chg="add mod">
          <ac:chgData name="Divya Rank" userId="8a86f94f-bc51-45b1-baba-7f5d30607298" providerId="ADAL" clId="{12126C74-8380-4416-AB41-D42486FEE1A5}" dt="2025-06-13T13:11:02.958" v="1860" actId="1076"/>
          <ac:grpSpMkLst>
            <pc:docMk/>
            <pc:sldMk cId="1013597385" sldId="1545"/>
            <ac:grpSpMk id="24" creationId="{221F8B3D-F0E3-AAC9-B0C5-390B97751435}"/>
          </ac:grpSpMkLst>
        </pc:grpChg>
      </pc:sldChg>
      <pc:sldChg chg="addSp delSp modSp add mod">
        <pc:chgData name="Divya Rank" userId="8a86f94f-bc51-45b1-baba-7f5d30607298" providerId="ADAL" clId="{12126C74-8380-4416-AB41-D42486FEE1A5}" dt="2025-06-13T13:58:03.077" v="3967" actId="14100"/>
        <pc:sldMkLst>
          <pc:docMk/>
          <pc:sldMk cId="776117127" sldId="1546"/>
        </pc:sldMkLst>
        <pc:spChg chg="mod">
          <ac:chgData name="Divya Rank" userId="8a86f94f-bc51-45b1-baba-7f5d30607298" providerId="ADAL" clId="{12126C74-8380-4416-AB41-D42486FEE1A5}" dt="2025-06-13T13:58:03.077" v="3967" actId="14100"/>
          <ac:spMkLst>
            <pc:docMk/>
            <pc:sldMk cId="776117127" sldId="1546"/>
            <ac:spMk id="18" creationId="{21D26E01-6574-50B5-FD8B-C98D76DC977C}"/>
          </ac:spMkLst>
        </pc:spChg>
        <pc:spChg chg="mod">
          <ac:chgData name="Divya Rank" userId="8a86f94f-bc51-45b1-baba-7f5d30607298" providerId="ADAL" clId="{12126C74-8380-4416-AB41-D42486FEE1A5}" dt="2025-06-13T13:23:49.060" v="2203" actId="14100"/>
          <ac:spMkLst>
            <pc:docMk/>
            <pc:sldMk cId="776117127" sldId="1546"/>
            <ac:spMk id="21" creationId="{0D0B1691-B6BD-C136-C85A-33A3998F88AD}"/>
          </ac:spMkLst>
        </pc:spChg>
        <pc:spChg chg="mod">
          <ac:chgData name="Divya Rank" userId="8a86f94f-bc51-45b1-baba-7f5d30607298" providerId="ADAL" clId="{12126C74-8380-4416-AB41-D42486FEE1A5}" dt="2025-06-13T13:57:56.897" v="3966" actId="14100"/>
          <ac:spMkLst>
            <pc:docMk/>
            <pc:sldMk cId="776117127" sldId="1546"/>
            <ac:spMk id="24" creationId="{B51DE4E9-3E82-9518-D708-B5EB924A4DAF}"/>
          </ac:spMkLst>
        </pc:spChg>
        <pc:spChg chg="mod">
          <ac:chgData name="Divya Rank" userId="8a86f94f-bc51-45b1-baba-7f5d30607298" providerId="ADAL" clId="{12126C74-8380-4416-AB41-D42486FEE1A5}" dt="2025-06-13T13:24:10.622" v="2293" actId="1035"/>
          <ac:spMkLst>
            <pc:docMk/>
            <pc:sldMk cId="776117127" sldId="1546"/>
            <ac:spMk id="27" creationId="{0AA1ABED-C5DC-EFB0-F686-878B308E2656}"/>
          </ac:spMkLst>
        </pc:spChg>
        <pc:spChg chg="mod">
          <ac:chgData name="Divya Rank" userId="8a86f94f-bc51-45b1-baba-7f5d30607298" providerId="ADAL" clId="{12126C74-8380-4416-AB41-D42486FEE1A5}" dt="2025-06-13T13:18:49.580" v="2049" actId="20577"/>
          <ac:spMkLst>
            <pc:docMk/>
            <pc:sldMk cId="776117127" sldId="1546"/>
            <ac:spMk id="29" creationId="{F9385070-6F8B-CEC1-1539-7437D9FFFA17}"/>
          </ac:spMkLst>
        </pc:spChg>
        <pc:grpChg chg="add mod">
          <ac:chgData name="Divya Rank" userId="8a86f94f-bc51-45b1-baba-7f5d30607298" providerId="ADAL" clId="{12126C74-8380-4416-AB41-D42486FEE1A5}" dt="2025-06-13T13:24:16.408" v="2294" actId="1076"/>
          <ac:grpSpMkLst>
            <pc:docMk/>
            <pc:sldMk cId="776117127" sldId="1546"/>
            <ac:grpSpMk id="5" creationId="{5D17A6EA-AF7C-5FE0-A5F5-30ED94FD5F5A}"/>
          </ac:grpSpMkLst>
        </pc:grpChg>
      </pc:sldChg>
      <pc:sldChg chg="addSp delSp modSp add mod">
        <pc:chgData name="Divya Rank" userId="8a86f94f-bc51-45b1-baba-7f5d30607298" providerId="ADAL" clId="{12126C74-8380-4416-AB41-D42486FEE1A5}" dt="2025-06-13T13:42:47.940" v="3564" actId="1038"/>
        <pc:sldMkLst>
          <pc:docMk/>
          <pc:sldMk cId="3782493662" sldId="1547"/>
        </pc:sldMkLst>
        <pc:spChg chg="mod">
          <ac:chgData name="Divya Rank" userId="8a86f94f-bc51-45b1-baba-7f5d30607298" providerId="ADAL" clId="{12126C74-8380-4416-AB41-D42486FEE1A5}" dt="2025-06-13T13:40:53.513" v="3313" actId="20577"/>
          <ac:spMkLst>
            <pc:docMk/>
            <pc:sldMk cId="3782493662" sldId="1547"/>
            <ac:spMk id="8" creationId="{3A76E538-0D80-BE39-7437-B3CDF8D5C695}"/>
          </ac:spMkLst>
        </pc:spChg>
        <pc:spChg chg="mod">
          <ac:chgData name="Divya Rank" userId="8a86f94f-bc51-45b1-baba-7f5d30607298" providerId="ADAL" clId="{12126C74-8380-4416-AB41-D42486FEE1A5}" dt="2025-06-13T13:40:45.955" v="3308" actId="21"/>
          <ac:spMkLst>
            <pc:docMk/>
            <pc:sldMk cId="3782493662" sldId="1547"/>
            <ac:spMk id="31" creationId="{B7CE78F4-E362-54F3-0467-8F583F177D8D}"/>
          </ac:spMkLst>
        </pc:spChg>
        <pc:spChg chg="mod">
          <ac:chgData name="Divya Rank" userId="8a86f94f-bc51-45b1-baba-7f5d30607298" providerId="ADAL" clId="{12126C74-8380-4416-AB41-D42486FEE1A5}" dt="2025-06-13T13:42:33.199" v="3476" actId="1037"/>
          <ac:spMkLst>
            <pc:docMk/>
            <pc:sldMk cId="3782493662" sldId="1547"/>
            <ac:spMk id="36" creationId="{81E7D3CB-44E1-B14F-604A-9AE682F03857}"/>
          </ac:spMkLst>
        </pc:spChg>
        <pc:spChg chg="mod">
          <ac:chgData name="Divya Rank" userId="8a86f94f-bc51-45b1-baba-7f5d30607298" providerId="ADAL" clId="{12126C74-8380-4416-AB41-D42486FEE1A5}" dt="2025-06-13T13:40:56.047" v="3314" actId="21"/>
          <ac:spMkLst>
            <pc:docMk/>
            <pc:sldMk cId="3782493662" sldId="1547"/>
            <ac:spMk id="37" creationId="{81BBDB7C-9B6B-9DFB-6336-861F54D32F52}"/>
          </ac:spMkLst>
        </pc:spChg>
        <pc:spChg chg="mod">
          <ac:chgData name="Divya Rank" userId="8a86f94f-bc51-45b1-baba-7f5d30607298" providerId="ADAL" clId="{12126C74-8380-4416-AB41-D42486FEE1A5}" dt="2025-06-13T13:42:27.720" v="3441" actId="1038"/>
          <ac:spMkLst>
            <pc:docMk/>
            <pc:sldMk cId="3782493662" sldId="1547"/>
            <ac:spMk id="39" creationId="{B30985F3-417B-1B04-037F-1A52B6068F9D}"/>
          </ac:spMkLst>
        </pc:spChg>
        <pc:spChg chg="mod">
          <ac:chgData name="Divya Rank" userId="8a86f94f-bc51-45b1-baba-7f5d30607298" providerId="ADAL" clId="{12126C74-8380-4416-AB41-D42486FEE1A5}" dt="2025-06-13T13:42:47.940" v="3564" actId="1038"/>
          <ac:spMkLst>
            <pc:docMk/>
            <pc:sldMk cId="3782493662" sldId="1547"/>
            <ac:spMk id="45" creationId="{C10BAA81-3C1B-8738-31D1-A5AC51C188F2}"/>
          </ac:spMkLst>
        </pc:spChg>
        <pc:spChg chg="mod">
          <ac:chgData name="Divya Rank" userId="8a86f94f-bc51-45b1-baba-7f5d30607298" providerId="ADAL" clId="{12126C74-8380-4416-AB41-D42486FEE1A5}" dt="2025-06-13T13:42:41.291" v="3533" actId="1038"/>
          <ac:spMkLst>
            <pc:docMk/>
            <pc:sldMk cId="3782493662" sldId="1547"/>
            <ac:spMk id="49" creationId="{9F8C9CB9-FE79-1424-494D-70E4A85E6704}"/>
          </ac:spMkLst>
        </pc:spChg>
        <pc:grpChg chg="add">
          <ac:chgData name="Divya Rank" userId="8a86f94f-bc51-45b1-baba-7f5d30607298" providerId="ADAL" clId="{12126C74-8380-4416-AB41-D42486FEE1A5}" dt="2025-06-13T13:42:21.791" v="3394" actId="164"/>
          <ac:grpSpMkLst>
            <pc:docMk/>
            <pc:sldMk cId="3782493662" sldId="1547"/>
            <ac:grpSpMk id="7" creationId="{FDC4B7A2-93FF-A093-3E31-6F929FE6A76D}"/>
          </ac:grpSpMkLst>
        </pc:grpChg>
      </pc:sldChg>
      <pc:sldChg chg="modSp add mod ord">
        <pc:chgData name="Divya Rank" userId="8a86f94f-bc51-45b1-baba-7f5d30607298" providerId="ADAL" clId="{12126C74-8380-4416-AB41-D42486FEE1A5}" dt="2025-06-13T13:46:53.683" v="3631"/>
        <pc:sldMkLst>
          <pc:docMk/>
          <pc:sldMk cId="1036789008" sldId="1548"/>
        </pc:sldMkLst>
        <pc:spChg chg="mod">
          <ac:chgData name="Divya Rank" userId="8a86f94f-bc51-45b1-baba-7f5d30607298" providerId="ADAL" clId="{12126C74-8380-4416-AB41-D42486FEE1A5}" dt="2025-06-13T13:46:42.587" v="3629" actId="14100"/>
          <ac:spMkLst>
            <pc:docMk/>
            <pc:sldMk cId="1036789008" sldId="1548"/>
            <ac:spMk id="8" creationId="{BC175C44-07AB-616C-880B-C73C59A0C366}"/>
          </ac:spMkLst>
        </pc:spChg>
      </pc:sldChg>
      <pc:sldChg chg="addSp delSp modSp mod">
        <pc:chgData name="Divya Rank" userId="8a86f94f-bc51-45b1-baba-7f5d30607298" providerId="ADAL" clId="{12126C74-8380-4416-AB41-D42486FEE1A5}" dt="2025-06-14T04:08:23.517" v="6020"/>
        <pc:sldMkLst>
          <pc:docMk/>
          <pc:sldMk cId="642286714" sldId="1549"/>
        </pc:sldMkLst>
        <pc:spChg chg="add mod">
          <ac:chgData name="Divya Rank" userId="8a86f94f-bc51-45b1-baba-7f5d30607298" providerId="ADAL" clId="{12126C74-8380-4416-AB41-D42486FEE1A5}" dt="2025-06-14T04:08:23.517" v="6020"/>
          <ac:spMkLst>
            <pc:docMk/>
            <pc:sldMk cId="642286714" sldId="1549"/>
            <ac:spMk id="2" creationId="{E3D3B22D-419D-C154-28E1-F7B67DACA09B}"/>
          </ac:spMkLst>
        </pc:spChg>
        <pc:spChg chg="add mod">
          <ac:chgData name="Divya Rank" userId="8a86f94f-bc51-45b1-baba-7f5d30607298" providerId="ADAL" clId="{12126C74-8380-4416-AB41-D42486FEE1A5}" dt="2025-06-14T04:08:23.517" v="6020"/>
          <ac:spMkLst>
            <pc:docMk/>
            <pc:sldMk cId="642286714" sldId="1549"/>
            <ac:spMk id="10" creationId="{02BC6D5B-A0B1-E9CE-93DA-C29CC71FDCEF}"/>
          </ac:spMkLst>
        </pc:spChg>
      </pc:sldChg>
      <pc:sldChg chg="addSp delSp modSp add mod">
        <pc:chgData name="Divya Rank" userId="8a86f94f-bc51-45b1-baba-7f5d30607298" providerId="ADAL" clId="{12126C74-8380-4416-AB41-D42486FEE1A5}" dt="2025-06-13T14:09:46.189" v="4316" actId="403"/>
        <pc:sldMkLst>
          <pc:docMk/>
          <pc:sldMk cId="2973076184" sldId="1550"/>
        </pc:sldMkLst>
        <pc:spChg chg="mod">
          <ac:chgData name="Divya Rank" userId="8a86f94f-bc51-45b1-baba-7f5d30607298" providerId="ADAL" clId="{12126C74-8380-4416-AB41-D42486FEE1A5}" dt="2025-06-13T14:09:33.269" v="4301" actId="1038"/>
          <ac:spMkLst>
            <pc:docMk/>
            <pc:sldMk cId="2973076184" sldId="1550"/>
            <ac:spMk id="34" creationId="{D766C4A4-DE98-E09B-492C-E2210F7E66A7}"/>
          </ac:spMkLst>
        </pc:spChg>
        <pc:spChg chg="mod">
          <ac:chgData name="Divya Rank" userId="8a86f94f-bc51-45b1-baba-7f5d30607298" providerId="ADAL" clId="{12126C74-8380-4416-AB41-D42486FEE1A5}" dt="2025-06-13T14:09:46.189" v="4316" actId="403"/>
          <ac:spMkLst>
            <pc:docMk/>
            <pc:sldMk cId="2973076184" sldId="1550"/>
            <ac:spMk id="36" creationId="{318C16CA-22CC-CAA5-5DEC-301A17B6B5B8}"/>
          </ac:spMkLst>
        </pc:spChg>
        <pc:grpChg chg="add mod">
          <ac:chgData name="Divya Rank" userId="8a86f94f-bc51-45b1-baba-7f5d30607298" providerId="ADAL" clId="{12126C74-8380-4416-AB41-D42486FEE1A5}" dt="2025-06-13T14:09:23.575" v="4234" actId="1076"/>
          <ac:grpSpMkLst>
            <pc:docMk/>
            <pc:sldMk cId="2973076184" sldId="1550"/>
            <ac:grpSpMk id="44" creationId="{DF330BB4-8EBD-8D6C-1916-A74D16054165}"/>
          </ac:grpSpMkLst>
        </pc:grpChg>
        <pc:picChg chg="mod">
          <ac:chgData name="Divya Rank" userId="8a86f94f-bc51-45b1-baba-7f5d30607298" providerId="ADAL" clId="{12126C74-8380-4416-AB41-D42486FEE1A5}" dt="2025-06-13T14:09:18.042" v="4232" actId="1076"/>
          <ac:picMkLst>
            <pc:docMk/>
            <pc:sldMk cId="2973076184" sldId="1550"/>
            <ac:picMk id="35" creationId="{2450C448-3D55-41AF-31FC-7EDD66140AC2}"/>
          </ac:picMkLst>
        </pc:picChg>
      </pc:sldChg>
      <pc:sldChg chg="delSp modSp add mod">
        <pc:chgData name="Divya Rank" userId="8a86f94f-bc51-45b1-baba-7f5d30607298" providerId="ADAL" clId="{12126C74-8380-4416-AB41-D42486FEE1A5}" dt="2025-06-13T14:16:55.977" v="4525" actId="1076"/>
        <pc:sldMkLst>
          <pc:docMk/>
          <pc:sldMk cId="1897404882" sldId="1551"/>
        </pc:sldMkLst>
        <pc:spChg chg="mod">
          <ac:chgData name="Divya Rank" userId="8a86f94f-bc51-45b1-baba-7f5d30607298" providerId="ADAL" clId="{12126C74-8380-4416-AB41-D42486FEE1A5}" dt="2025-06-13T14:14:57.822" v="4459"/>
          <ac:spMkLst>
            <pc:docMk/>
            <pc:sldMk cId="1897404882" sldId="1551"/>
            <ac:spMk id="30" creationId="{91AC59B3-7706-EA35-45DB-860FCB169804}"/>
          </ac:spMkLst>
        </pc:spChg>
        <pc:spChg chg="mod topLvl">
          <ac:chgData name="Divya Rank" userId="8a86f94f-bc51-45b1-baba-7f5d30607298" providerId="ADAL" clId="{12126C74-8380-4416-AB41-D42486FEE1A5}" dt="2025-06-13T14:16:55.977" v="4525" actId="1076"/>
          <ac:spMkLst>
            <pc:docMk/>
            <pc:sldMk cId="1897404882" sldId="1551"/>
            <ac:spMk id="40" creationId="{FE7F7593-1E16-CF67-FDD2-EA22F6BA62E7}"/>
          </ac:spMkLst>
        </pc:spChg>
      </pc:sldChg>
      <pc:sldChg chg="add del">
        <pc:chgData name="Divya Rank" userId="8a86f94f-bc51-45b1-baba-7f5d30607298" providerId="ADAL" clId="{12126C74-8380-4416-AB41-D42486FEE1A5}" dt="2025-06-13T14:22:12.104" v="4643" actId="47"/>
        <pc:sldMkLst>
          <pc:docMk/>
          <pc:sldMk cId="1295788982" sldId="1552"/>
        </pc:sldMkLst>
      </pc:sldChg>
      <pc:sldChg chg="modSp add mod">
        <pc:chgData name="Divya Rank" userId="8a86f94f-bc51-45b1-baba-7f5d30607298" providerId="ADAL" clId="{12126C74-8380-4416-AB41-D42486FEE1A5}" dt="2025-06-13T14:22:07.643" v="4642" actId="108"/>
        <pc:sldMkLst>
          <pc:docMk/>
          <pc:sldMk cId="3079445697" sldId="1553"/>
        </pc:sldMkLst>
        <pc:spChg chg="mod">
          <ac:chgData name="Divya Rank" userId="8a86f94f-bc51-45b1-baba-7f5d30607298" providerId="ADAL" clId="{12126C74-8380-4416-AB41-D42486FEE1A5}" dt="2025-06-13T14:22:07.643" v="4642" actId="108"/>
          <ac:spMkLst>
            <pc:docMk/>
            <pc:sldMk cId="3079445697" sldId="1553"/>
            <ac:spMk id="4" creationId="{A48FB289-F4A0-434C-91B1-948BC3FC7055}"/>
          </ac:spMkLst>
        </pc:spChg>
        <pc:spChg chg="mod">
          <ac:chgData name="Divya Rank" userId="8a86f94f-bc51-45b1-baba-7f5d30607298" providerId="ADAL" clId="{12126C74-8380-4416-AB41-D42486FEE1A5}" dt="2025-06-13T14:22:07.643" v="4642" actId="108"/>
          <ac:spMkLst>
            <pc:docMk/>
            <pc:sldMk cId="3079445697" sldId="1553"/>
            <ac:spMk id="6" creationId="{030B66E6-4F2F-05A9-0ACC-32681855B7EE}"/>
          </ac:spMkLst>
        </pc:spChg>
        <pc:spChg chg="mod">
          <ac:chgData name="Divya Rank" userId="8a86f94f-bc51-45b1-baba-7f5d30607298" providerId="ADAL" clId="{12126C74-8380-4416-AB41-D42486FEE1A5}" dt="2025-06-13T14:22:07.643" v="4642" actId="108"/>
          <ac:spMkLst>
            <pc:docMk/>
            <pc:sldMk cId="3079445697" sldId="1553"/>
            <ac:spMk id="7" creationId="{99B61190-A1E6-7518-A5B3-EB45D1677E8F}"/>
          </ac:spMkLst>
        </pc:spChg>
        <pc:spChg chg="mod">
          <ac:chgData name="Divya Rank" userId="8a86f94f-bc51-45b1-baba-7f5d30607298" providerId="ADAL" clId="{12126C74-8380-4416-AB41-D42486FEE1A5}" dt="2025-06-13T14:21:47.146" v="4640"/>
          <ac:spMkLst>
            <pc:docMk/>
            <pc:sldMk cId="3079445697" sldId="1553"/>
            <ac:spMk id="11" creationId="{071292F8-F0EB-028C-73F1-AA5010E44323}"/>
          </ac:spMkLst>
        </pc:spChg>
        <pc:spChg chg="mod">
          <ac:chgData name="Divya Rank" userId="8a86f94f-bc51-45b1-baba-7f5d30607298" providerId="ADAL" clId="{12126C74-8380-4416-AB41-D42486FEE1A5}" dt="2025-06-13T14:21:47.146" v="4640"/>
          <ac:spMkLst>
            <pc:docMk/>
            <pc:sldMk cId="3079445697" sldId="1553"/>
            <ac:spMk id="12" creationId="{DFBCE07A-4A5D-B478-D770-F6FA18803F8B}"/>
          </ac:spMkLst>
        </pc:spChg>
        <pc:spChg chg="mod">
          <ac:chgData name="Divya Rank" userId="8a86f94f-bc51-45b1-baba-7f5d30607298" providerId="ADAL" clId="{12126C74-8380-4416-AB41-D42486FEE1A5}" dt="2025-06-13T14:21:47.146" v="4640"/>
          <ac:spMkLst>
            <pc:docMk/>
            <pc:sldMk cId="3079445697" sldId="1553"/>
            <ac:spMk id="13" creationId="{F18E7AA9-63A0-7F73-C332-C6D689DC88E9}"/>
          </ac:spMkLst>
        </pc:spChg>
        <pc:grpChg chg="mod">
          <ac:chgData name="Divya Rank" userId="8a86f94f-bc51-45b1-baba-7f5d30607298" providerId="ADAL" clId="{12126C74-8380-4416-AB41-D42486FEE1A5}" dt="2025-06-13T14:21:31.904" v="4639"/>
          <ac:grpSpMkLst>
            <pc:docMk/>
            <pc:sldMk cId="3079445697" sldId="1553"/>
            <ac:grpSpMk id="5" creationId="{F1768E2A-2A04-97FC-EC6C-5EB23F8302E6}"/>
          </ac:grpSpMkLst>
        </pc:grpChg>
        <pc:grpChg chg="mod">
          <ac:chgData name="Divya Rank" userId="8a86f94f-bc51-45b1-baba-7f5d30607298" providerId="ADAL" clId="{12126C74-8380-4416-AB41-D42486FEE1A5}" dt="2025-06-13T14:21:47.146" v="4640"/>
          <ac:grpSpMkLst>
            <pc:docMk/>
            <pc:sldMk cId="3079445697" sldId="1553"/>
            <ac:grpSpMk id="19" creationId="{77F02F80-8202-1639-061A-0C77B7396C4A}"/>
          </ac:grpSpMkLst>
        </pc:grpChg>
      </pc:sldChg>
      <pc:sldChg chg="delSp modSp add del mod">
        <pc:chgData name="Divya Rank" userId="8a86f94f-bc51-45b1-baba-7f5d30607298" providerId="ADAL" clId="{12126C74-8380-4416-AB41-D42486FEE1A5}" dt="2025-06-13T14:27:00.765" v="4791" actId="47"/>
        <pc:sldMkLst>
          <pc:docMk/>
          <pc:sldMk cId="475900012" sldId="1554"/>
        </pc:sldMkLst>
      </pc:sldChg>
      <pc:sldChg chg="delSp modSp add del mod">
        <pc:chgData name="Divya Rank" userId="8a86f94f-bc51-45b1-baba-7f5d30607298" providerId="ADAL" clId="{12126C74-8380-4416-AB41-D42486FEE1A5}" dt="2025-06-13T15:42:32.451" v="5993" actId="47"/>
        <pc:sldMkLst>
          <pc:docMk/>
          <pc:sldMk cId="2944262355" sldId="1554"/>
        </pc:sldMkLst>
      </pc:sldChg>
      <pc:sldChg chg="modSp add del mod">
        <pc:chgData name="Divya Rank" userId="8a86f94f-bc51-45b1-baba-7f5d30607298" providerId="ADAL" clId="{12126C74-8380-4416-AB41-D42486FEE1A5}" dt="2025-06-13T15:41:02.704" v="5980" actId="47"/>
        <pc:sldMkLst>
          <pc:docMk/>
          <pc:sldMk cId="2356040217" sldId="1555"/>
        </pc:sldMkLst>
      </pc:sldChg>
      <pc:sldChg chg="modSp add mod">
        <pc:chgData name="Divya Rank" userId="8a86f94f-bc51-45b1-baba-7f5d30607298" providerId="ADAL" clId="{12126C74-8380-4416-AB41-D42486FEE1A5}" dt="2025-06-13T15:43:07.193" v="6001" actId="6549"/>
        <pc:sldMkLst>
          <pc:docMk/>
          <pc:sldMk cId="1224979801" sldId="1556"/>
        </pc:sldMkLst>
        <pc:spChg chg="mod">
          <ac:chgData name="Divya Rank" userId="8a86f94f-bc51-45b1-baba-7f5d30607298" providerId="ADAL" clId="{12126C74-8380-4416-AB41-D42486FEE1A5}" dt="2025-06-13T15:43:05.137" v="5998"/>
          <ac:spMkLst>
            <pc:docMk/>
            <pc:sldMk cId="1224979801" sldId="1556"/>
            <ac:spMk id="12" creationId="{E61E0D84-6CB8-8FE3-F98C-B01E8D690AD4}"/>
          </ac:spMkLst>
        </pc:spChg>
        <pc:spChg chg="mod">
          <ac:chgData name="Divya Rank" userId="8a86f94f-bc51-45b1-baba-7f5d30607298" providerId="ADAL" clId="{12126C74-8380-4416-AB41-D42486FEE1A5}" dt="2025-06-13T15:43:05.137" v="5998"/>
          <ac:spMkLst>
            <pc:docMk/>
            <pc:sldMk cId="1224979801" sldId="1556"/>
            <ac:spMk id="13" creationId="{F7CC5562-5C8B-433B-CE1B-E0B765B819DC}"/>
          </ac:spMkLst>
        </pc:spChg>
        <pc:spChg chg="mod">
          <ac:chgData name="Divya Rank" userId="8a86f94f-bc51-45b1-baba-7f5d30607298" providerId="ADAL" clId="{12126C74-8380-4416-AB41-D42486FEE1A5}" dt="2025-06-13T15:43:05.137" v="5998"/>
          <ac:spMkLst>
            <pc:docMk/>
            <pc:sldMk cId="1224979801" sldId="1556"/>
            <ac:spMk id="14" creationId="{58C2A108-29B5-69AF-E01F-A382E39127F8}"/>
          </ac:spMkLst>
        </pc:spChg>
        <pc:spChg chg="mod">
          <ac:chgData name="Divya Rank" userId="8a86f94f-bc51-45b1-baba-7f5d30607298" providerId="ADAL" clId="{12126C74-8380-4416-AB41-D42486FEE1A5}" dt="2025-06-13T15:43:05.137" v="5998"/>
          <ac:spMkLst>
            <pc:docMk/>
            <pc:sldMk cId="1224979801" sldId="1556"/>
            <ac:spMk id="15" creationId="{CFD393CB-5C7D-F12E-4E47-A8B817B3C0D4}"/>
          </ac:spMkLst>
        </pc:spChg>
        <pc:spChg chg="mod">
          <ac:chgData name="Divya Rank" userId="8a86f94f-bc51-45b1-baba-7f5d30607298" providerId="ADAL" clId="{12126C74-8380-4416-AB41-D42486FEE1A5}" dt="2025-06-13T15:43:07.193" v="6001" actId="6549"/>
          <ac:spMkLst>
            <pc:docMk/>
            <pc:sldMk cId="1224979801" sldId="1556"/>
            <ac:spMk id="16" creationId="{23B1879D-DA7E-D9A1-FE84-71FA52984ECB}"/>
          </ac:spMkLst>
        </pc:spChg>
        <pc:spChg chg="mod">
          <ac:chgData name="Divya Rank" userId="8a86f94f-bc51-45b1-baba-7f5d30607298" providerId="ADAL" clId="{12126C74-8380-4416-AB41-D42486FEE1A5}" dt="2025-06-13T15:42:21.326" v="5992"/>
          <ac:spMkLst>
            <pc:docMk/>
            <pc:sldMk cId="1224979801" sldId="1556"/>
            <ac:spMk id="30" creationId="{60929C46-2EEB-0A2D-3D73-F82D65B36529}"/>
          </ac:spMkLst>
        </pc:spChg>
        <pc:spChg chg="mod">
          <ac:chgData name="Divya Rank" userId="8a86f94f-bc51-45b1-baba-7f5d30607298" providerId="ADAL" clId="{12126C74-8380-4416-AB41-D42486FEE1A5}" dt="2025-06-13T15:41:20.613" v="5982"/>
          <ac:spMkLst>
            <pc:docMk/>
            <pc:sldMk cId="1224979801" sldId="1556"/>
            <ac:spMk id="31" creationId="{157649A3-0688-2BDC-76B1-FBE391ACA570}"/>
          </ac:spMkLst>
        </pc:spChg>
        <pc:spChg chg="mod">
          <ac:chgData name="Divya Rank" userId="8a86f94f-bc51-45b1-baba-7f5d30607298" providerId="ADAL" clId="{12126C74-8380-4416-AB41-D42486FEE1A5}" dt="2025-06-13T15:42:11.262" v="5990" actId="113"/>
          <ac:spMkLst>
            <pc:docMk/>
            <pc:sldMk cId="1224979801" sldId="1556"/>
            <ac:spMk id="32" creationId="{57C25C15-652F-C238-E1DA-18AF36D49993}"/>
          </ac:spMkLst>
        </pc:spChg>
        <pc:grpChg chg="mod">
          <ac:chgData name="Divya Rank" userId="8a86f94f-bc51-45b1-baba-7f5d30607298" providerId="ADAL" clId="{12126C74-8380-4416-AB41-D42486FEE1A5}" dt="2025-06-13T15:43:05.137" v="5998"/>
          <ac:grpSpMkLst>
            <pc:docMk/>
            <pc:sldMk cId="1224979801" sldId="1556"/>
            <ac:grpSpMk id="27" creationId="{81DC1A22-01CB-5CAD-EE01-F9046EDB84D8}"/>
          </ac:grpSpMkLst>
        </pc:grpChg>
      </pc:sldChg>
      <pc:sldChg chg="modSp add mod">
        <pc:chgData name="Divya Rank" userId="8a86f94f-bc51-45b1-baba-7f5d30607298" providerId="ADAL" clId="{12126C74-8380-4416-AB41-D42486FEE1A5}" dt="2025-06-13T15:44:26.109" v="6016" actId="20577"/>
        <pc:sldMkLst>
          <pc:docMk/>
          <pc:sldMk cId="3287906801" sldId="1557"/>
        </pc:sldMkLst>
        <pc:spChg chg="mod">
          <ac:chgData name="Divya Rank" userId="8a86f94f-bc51-45b1-baba-7f5d30607298" providerId="ADAL" clId="{12126C74-8380-4416-AB41-D42486FEE1A5}" dt="2025-06-13T15:44:24.419" v="6013"/>
          <ac:spMkLst>
            <pc:docMk/>
            <pc:sldMk cId="3287906801" sldId="1557"/>
            <ac:spMk id="12" creationId="{DDC4AA0A-5162-5D51-28EA-FE44B6BDBE27}"/>
          </ac:spMkLst>
        </pc:spChg>
        <pc:spChg chg="mod">
          <ac:chgData name="Divya Rank" userId="8a86f94f-bc51-45b1-baba-7f5d30607298" providerId="ADAL" clId="{12126C74-8380-4416-AB41-D42486FEE1A5}" dt="2025-06-13T15:44:24.419" v="6013"/>
          <ac:spMkLst>
            <pc:docMk/>
            <pc:sldMk cId="3287906801" sldId="1557"/>
            <ac:spMk id="13" creationId="{E6DF3BF4-DF0D-9CC0-67C8-6B9DBCDFC763}"/>
          </ac:spMkLst>
        </pc:spChg>
        <pc:spChg chg="mod">
          <ac:chgData name="Divya Rank" userId="8a86f94f-bc51-45b1-baba-7f5d30607298" providerId="ADAL" clId="{12126C74-8380-4416-AB41-D42486FEE1A5}" dt="2025-06-13T15:44:24.419" v="6013"/>
          <ac:spMkLst>
            <pc:docMk/>
            <pc:sldMk cId="3287906801" sldId="1557"/>
            <ac:spMk id="14" creationId="{076FAA79-9B50-A93A-3A1F-8AEEACE567FB}"/>
          </ac:spMkLst>
        </pc:spChg>
        <pc:spChg chg="mod">
          <ac:chgData name="Divya Rank" userId="8a86f94f-bc51-45b1-baba-7f5d30607298" providerId="ADAL" clId="{12126C74-8380-4416-AB41-D42486FEE1A5}" dt="2025-06-13T15:44:24.419" v="6013"/>
          <ac:spMkLst>
            <pc:docMk/>
            <pc:sldMk cId="3287906801" sldId="1557"/>
            <ac:spMk id="15" creationId="{4BA5DC5B-C609-B67A-47B7-9875E158AFCF}"/>
          </ac:spMkLst>
        </pc:spChg>
        <pc:spChg chg="mod">
          <ac:chgData name="Divya Rank" userId="8a86f94f-bc51-45b1-baba-7f5d30607298" providerId="ADAL" clId="{12126C74-8380-4416-AB41-D42486FEE1A5}" dt="2025-06-13T15:44:26.109" v="6016" actId="20577"/>
          <ac:spMkLst>
            <pc:docMk/>
            <pc:sldMk cId="3287906801" sldId="1557"/>
            <ac:spMk id="16" creationId="{6C188CC8-D9A9-CD9F-38F4-B17C8ACE5D2D}"/>
          </ac:spMkLst>
        </pc:spChg>
        <pc:spChg chg="mod">
          <ac:chgData name="Divya Rank" userId="8a86f94f-bc51-45b1-baba-7f5d30607298" providerId="ADAL" clId="{12126C74-8380-4416-AB41-D42486FEE1A5}" dt="2025-06-13T15:43:48.049" v="6005"/>
          <ac:spMkLst>
            <pc:docMk/>
            <pc:sldMk cId="3287906801" sldId="1557"/>
            <ac:spMk id="26" creationId="{779BF5A9-BBD2-61D1-7387-75A7DAFCF993}"/>
          </ac:spMkLst>
        </pc:spChg>
        <pc:spChg chg="mod">
          <ac:chgData name="Divya Rank" userId="8a86f94f-bc51-45b1-baba-7f5d30607298" providerId="ADAL" clId="{12126C74-8380-4416-AB41-D42486FEE1A5}" dt="2025-06-13T15:43:48.049" v="6005"/>
          <ac:spMkLst>
            <pc:docMk/>
            <pc:sldMk cId="3287906801" sldId="1557"/>
            <ac:spMk id="29" creationId="{D8B2CBBE-8FA5-320A-EFCA-04D59AE5D19F}"/>
          </ac:spMkLst>
        </pc:spChg>
        <pc:spChg chg="mod">
          <ac:chgData name="Divya Rank" userId="8a86f94f-bc51-45b1-baba-7f5d30607298" providerId="ADAL" clId="{12126C74-8380-4416-AB41-D42486FEE1A5}" dt="2025-06-13T15:43:48.049" v="6005"/>
          <ac:spMkLst>
            <pc:docMk/>
            <pc:sldMk cId="3287906801" sldId="1557"/>
            <ac:spMk id="30" creationId="{20ACC6AA-8FFB-0E16-C464-C29531F8AD6B}"/>
          </ac:spMkLst>
        </pc:spChg>
        <pc:spChg chg="mod">
          <ac:chgData name="Divya Rank" userId="8a86f94f-bc51-45b1-baba-7f5d30607298" providerId="ADAL" clId="{12126C74-8380-4416-AB41-D42486FEE1A5}" dt="2025-06-13T15:43:48.049" v="6005"/>
          <ac:spMkLst>
            <pc:docMk/>
            <pc:sldMk cId="3287906801" sldId="1557"/>
            <ac:spMk id="31" creationId="{96C43664-FFBE-6879-3BB1-CA9F6B64AE39}"/>
          </ac:spMkLst>
        </pc:spChg>
        <pc:spChg chg="mod">
          <ac:chgData name="Divya Rank" userId="8a86f94f-bc51-45b1-baba-7f5d30607298" providerId="ADAL" clId="{12126C74-8380-4416-AB41-D42486FEE1A5}" dt="2025-06-13T15:43:48.049" v="6005"/>
          <ac:spMkLst>
            <pc:docMk/>
            <pc:sldMk cId="3287906801" sldId="1557"/>
            <ac:spMk id="32" creationId="{BC924470-C516-674E-F91C-D60B746E7312}"/>
          </ac:spMkLst>
        </pc:spChg>
        <pc:grpChg chg="mod">
          <ac:chgData name="Divya Rank" userId="8a86f94f-bc51-45b1-baba-7f5d30607298" providerId="ADAL" clId="{12126C74-8380-4416-AB41-D42486FEE1A5}" dt="2025-06-13T15:43:48.049" v="6005"/>
          <ac:grpSpMkLst>
            <pc:docMk/>
            <pc:sldMk cId="3287906801" sldId="1557"/>
            <ac:grpSpMk id="25" creationId="{4C0677BD-F1C0-C53C-6BE5-C350C73A17EE}"/>
          </ac:grpSpMkLst>
        </pc:grpChg>
        <pc:grpChg chg="mod">
          <ac:chgData name="Divya Rank" userId="8a86f94f-bc51-45b1-baba-7f5d30607298" providerId="ADAL" clId="{12126C74-8380-4416-AB41-D42486FEE1A5}" dt="2025-06-13T15:44:24.419" v="6013"/>
          <ac:grpSpMkLst>
            <pc:docMk/>
            <pc:sldMk cId="3287906801" sldId="1557"/>
            <ac:grpSpMk id="27" creationId="{892E6133-8285-B80B-BCD6-23998E4485D5}"/>
          </ac:grpSpMkLst>
        </pc:grpChg>
      </pc:sldChg>
      <pc:sldChg chg="addSp delSp modSp add mod">
        <pc:chgData name="Divya Rank" userId="8a86f94f-bc51-45b1-baba-7f5d30607298" providerId="ADAL" clId="{12126C74-8380-4416-AB41-D42486FEE1A5}" dt="2025-06-16T06:08:43.485" v="6219" actId="113"/>
        <pc:sldMkLst>
          <pc:docMk/>
          <pc:sldMk cId="3774638054" sldId="1558"/>
        </pc:sldMkLst>
        <pc:spChg chg="add mod">
          <ac:chgData name="Divya Rank" userId="8a86f94f-bc51-45b1-baba-7f5d30607298" providerId="ADAL" clId="{12126C74-8380-4416-AB41-D42486FEE1A5}" dt="2025-06-16T06:05:36.378" v="6182" actId="34135"/>
          <ac:spMkLst>
            <pc:docMk/>
            <pc:sldMk cId="3774638054" sldId="1558"/>
            <ac:spMk id="2" creationId="{B8171E52-4CE7-EF16-E5AC-6D25EF251FAD}"/>
          </ac:spMkLst>
        </pc:spChg>
        <pc:spChg chg="add mod">
          <ac:chgData name="Divya Rank" userId="8a86f94f-bc51-45b1-baba-7f5d30607298" providerId="ADAL" clId="{12126C74-8380-4416-AB41-D42486FEE1A5}" dt="2025-06-16T06:05:36.378" v="6182" actId="34135"/>
          <ac:spMkLst>
            <pc:docMk/>
            <pc:sldMk cId="3774638054" sldId="1558"/>
            <ac:spMk id="10" creationId="{1BD47009-8B16-A3BA-7280-96DDB964ADB6}"/>
          </ac:spMkLst>
        </pc:spChg>
        <pc:spChg chg="add mod">
          <ac:chgData name="Divya Rank" userId="8a86f94f-bc51-45b1-baba-7f5d30607298" providerId="ADAL" clId="{12126C74-8380-4416-AB41-D42486FEE1A5}" dt="2025-06-16T06:05:36.378" v="6182" actId="34135"/>
          <ac:spMkLst>
            <pc:docMk/>
            <pc:sldMk cId="3774638054" sldId="1558"/>
            <ac:spMk id="11" creationId="{A33332DB-8963-4C5A-FAF3-2045E5C3930A}"/>
          </ac:spMkLst>
        </pc:spChg>
        <pc:spChg chg="add mod">
          <ac:chgData name="Divya Rank" userId="8a86f94f-bc51-45b1-baba-7f5d30607298" providerId="ADAL" clId="{12126C74-8380-4416-AB41-D42486FEE1A5}" dt="2025-06-16T06:05:36.378" v="6182" actId="34135"/>
          <ac:spMkLst>
            <pc:docMk/>
            <pc:sldMk cId="3774638054" sldId="1558"/>
            <ac:spMk id="20" creationId="{8E823690-1303-CF6D-1960-0850FAF4A38B}"/>
          </ac:spMkLst>
        </pc:spChg>
        <pc:spChg chg="add mod">
          <ac:chgData name="Divya Rank" userId="8a86f94f-bc51-45b1-baba-7f5d30607298" providerId="ADAL" clId="{12126C74-8380-4416-AB41-D42486FEE1A5}" dt="2025-06-16T06:08:43.485" v="6219" actId="113"/>
          <ac:spMkLst>
            <pc:docMk/>
            <pc:sldMk cId="3774638054" sldId="1558"/>
            <ac:spMk id="39" creationId="{C0603A5C-6CC2-ADAC-20BE-19DA1C93DDF6}"/>
          </ac:spMkLst>
        </pc:spChg>
        <pc:spChg chg="add mod">
          <ac:chgData name="Divya Rank" userId="8a86f94f-bc51-45b1-baba-7f5d30607298" providerId="ADAL" clId="{12126C74-8380-4416-AB41-D42486FEE1A5}" dt="2025-06-16T06:08:43.485" v="6219" actId="113"/>
          <ac:spMkLst>
            <pc:docMk/>
            <pc:sldMk cId="3774638054" sldId="1558"/>
            <ac:spMk id="40" creationId="{9E1B28D5-6054-10AA-60C1-BB129D1BDAEF}"/>
          </ac:spMkLst>
        </pc:spChg>
        <pc:spChg chg="add mod">
          <ac:chgData name="Divya Rank" userId="8a86f94f-bc51-45b1-baba-7f5d30607298" providerId="ADAL" clId="{12126C74-8380-4416-AB41-D42486FEE1A5}" dt="2025-06-16T06:08:43.485" v="6219" actId="113"/>
          <ac:spMkLst>
            <pc:docMk/>
            <pc:sldMk cId="3774638054" sldId="1558"/>
            <ac:spMk id="42" creationId="{4B169763-9C36-3CC7-0554-6BB47831C52A}"/>
          </ac:spMkLst>
        </pc:spChg>
        <pc:spChg chg="add mod">
          <ac:chgData name="Divya Rank" userId="8a86f94f-bc51-45b1-baba-7f5d30607298" providerId="ADAL" clId="{12126C74-8380-4416-AB41-D42486FEE1A5}" dt="2025-06-16T06:08:43.485" v="6219" actId="113"/>
          <ac:spMkLst>
            <pc:docMk/>
            <pc:sldMk cId="3774638054" sldId="1558"/>
            <ac:spMk id="43" creationId="{CA3E7513-32C6-99B7-A16A-F8B942EF4419}"/>
          </ac:spMkLst>
        </pc:spChg>
        <pc:spChg chg="add mod ord">
          <ac:chgData name="Divya Rank" userId="8a86f94f-bc51-45b1-baba-7f5d30607298" providerId="ADAL" clId="{12126C74-8380-4416-AB41-D42486FEE1A5}" dt="2025-06-16T06:08:21.699" v="6217" actId="207"/>
          <ac:spMkLst>
            <pc:docMk/>
            <pc:sldMk cId="3774638054" sldId="1558"/>
            <ac:spMk id="45" creationId="{40B33B84-FB8B-1469-54D3-1A0BFDF4F466}"/>
          </ac:spMkLst>
        </pc:spChg>
        <pc:grpChg chg="add mod">
          <ac:chgData name="Divya Rank" userId="8a86f94f-bc51-45b1-baba-7f5d30607298" providerId="ADAL" clId="{12126C74-8380-4416-AB41-D42486FEE1A5}" dt="2025-06-16T06:05:36.378" v="6182" actId="34135"/>
          <ac:grpSpMkLst>
            <pc:docMk/>
            <pc:sldMk cId="3774638054" sldId="1558"/>
            <ac:grpSpMk id="38" creationId="{AD99EFDE-7C57-A934-1F87-4999CE635035}"/>
          </ac:grpSpMkLst>
        </pc:grpChg>
        <pc:grpChg chg="add mod">
          <ac:chgData name="Divya Rank" userId="8a86f94f-bc51-45b1-baba-7f5d30607298" providerId="ADAL" clId="{12126C74-8380-4416-AB41-D42486FEE1A5}" dt="2025-06-16T06:05:36.378" v="6182" actId="34135"/>
          <ac:grpSpMkLst>
            <pc:docMk/>
            <pc:sldMk cId="3774638054" sldId="1558"/>
            <ac:grpSpMk id="41" creationId="{1B7C68D5-D5AC-1474-F34D-53F9607751E6}"/>
          </ac:grpSpMkLst>
        </pc:grpChg>
        <pc:grpChg chg="add mod">
          <ac:chgData name="Divya Rank" userId="8a86f94f-bc51-45b1-baba-7f5d30607298" providerId="ADAL" clId="{12126C74-8380-4416-AB41-D42486FEE1A5}" dt="2025-06-16T06:08:06.548" v="6215" actId="34135"/>
          <ac:grpSpMkLst>
            <pc:docMk/>
            <pc:sldMk cId="3774638054" sldId="1558"/>
            <ac:grpSpMk id="44" creationId="{7518D4B3-47C7-2328-3B3D-1C419AF9C38E}"/>
          </ac:grpSpMkLst>
        </pc:grpChg>
        <pc:cxnChg chg="add mod">
          <ac:chgData name="Divya Rank" userId="8a86f94f-bc51-45b1-baba-7f5d30607298" providerId="ADAL" clId="{12126C74-8380-4416-AB41-D42486FEE1A5}" dt="2025-06-16T06:07:16.135" v="6206" actId="13822"/>
          <ac:cxnSpMkLst>
            <pc:docMk/>
            <pc:sldMk cId="3774638054" sldId="1558"/>
            <ac:cxnSpMk id="23" creationId="{2A04C735-420C-22DA-EC83-1E0656DB2556}"/>
          </ac:cxnSpMkLst>
        </pc:cxnChg>
        <pc:cxnChg chg="add mod">
          <ac:chgData name="Divya Rank" userId="8a86f94f-bc51-45b1-baba-7f5d30607298" providerId="ADAL" clId="{12126C74-8380-4416-AB41-D42486FEE1A5}" dt="2025-06-16T06:07:11.878" v="6205" actId="13822"/>
          <ac:cxnSpMkLst>
            <pc:docMk/>
            <pc:sldMk cId="3774638054" sldId="1558"/>
            <ac:cxnSpMk id="25" creationId="{77077A6F-925D-AE8C-2AC1-A85594511182}"/>
          </ac:cxnSpMkLst>
        </pc:cxnChg>
        <pc:cxnChg chg="add mod">
          <ac:chgData name="Divya Rank" userId="8a86f94f-bc51-45b1-baba-7f5d30607298" providerId="ADAL" clId="{12126C74-8380-4416-AB41-D42486FEE1A5}" dt="2025-06-16T06:07:31.605" v="6209" actId="693"/>
          <ac:cxnSpMkLst>
            <pc:docMk/>
            <pc:sldMk cId="3774638054" sldId="1558"/>
            <ac:cxnSpMk id="28" creationId="{A83EC19C-9A8E-D85E-CEA7-E075BCBFFE96}"/>
          </ac:cxnSpMkLst>
        </pc:cxnChg>
        <pc:cxnChg chg="add mod">
          <ac:chgData name="Divya Rank" userId="8a86f94f-bc51-45b1-baba-7f5d30607298" providerId="ADAL" clId="{12126C74-8380-4416-AB41-D42486FEE1A5}" dt="2025-06-16T06:07:36.994" v="6210" actId="693"/>
          <ac:cxnSpMkLst>
            <pc:docMk/>
            <pc:sldMk cId="3774638054" sldId="1558"/>
            <ac:cxnSpMk id="31" creationId="{C6D0C847-8766-B8AB-DD23-9487F669F8D3}"/>
          </ac:cxnSpMkLst>
        </pc:cxnChg>
      </pc:sldChg>
      <pc:sldMasterChg chg="modSldLayout">
        <pc:chgData name="Divya Rank" userId="8a86f94f-bc51-45b1-baba-7f5d30607298" providerId="ADAL" clId="{12126C74-8380-4416-AB41-D42486FEE1A5}" dt="2025-06-16T06:25:28.446" v="6259" actId="34135"/>
        <pc:sldMasterMkLst>
          <pc:docMk/>
          <pc:sldMasterMk cId="3152224442" sldId="2147483648"/>
        </pc:sldMasterMkLst>
        <pc:sldLayoutChg chg="modSp mod">
          <pc:chgData name="Divya Rank" userId="8a86f94f-bc51-45b1-baba-7f5d30607298" providerId="ADAL" clId="{12126C74-8380-4416-AB41-D42486FEE1A5}" dt="2025-06-16T06:23:33.399" v="6237" actId="34135"/>
          <pc:sldLayoutMkLst>
            <pc:docMk/>
            <pc:sldMasterMk cId="3152224442" sldId="2147483648"/>
            <pc:sldLayoutMk cId="918081023" sldId="2147483650"/>
          </pc:sldLayoutMkLst>
          <pc:picChg chg="mod">
            <ac:chgData name="Divya Rank" userId="8a86f94f-bc51-45b1-baba-7f5d30607298" providerId="ADAL" clId="{12126C74-8380-4416-AB41-D42486FEE1A5}" dt="2025-06-16T06:23:33.399" v="6237" actId="34135"/>
            <ac:picMkLst>
              <pc:docMk/>
              <pc:sldMasterMk cId="3152224442" sldId="2147483648"/>
              <pc:sldLayoutMk cId="918081023" sldId="2147483650"/>
              <ac:picMk id="9" creationId="{B6BB74EA-C8BB-3ABD-0058-76BBE89B4B20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2:57.887" v="6226" actId="34135"/>
          <pc:sldLayoutMkLst>
            <pc:docMk/>
            <pc:sldMasterMk cId="3152224442" sldId="2147483648"/>
            <pc:sldLayoutMk cId="503071546" sldId="2147483660"/>
          </pc:sldLayoutMkLst>
          <pc:picChg chg="mod">
            <ac:chgData name="Divya Rank" userId="8a86f94f-bc51-45b1-baba-7f5d30607298" providerId="ADAL" clId="{12126C74-8380-4416-AB41-D42486FEE1A5}" dt="2025-06-16T06:22:57.887" v="6226" actId="34135"/>
            <ac:picMkLst>
              <pc:docMk/>
              <pc:sldMasterMk cId="3152224442" sldId="2147483648"/>
              <pc:sldLayoutMk cId="503071546" sldId="2147483660"/>
              <ac:picMk id="6" creationId="{E5A7D8A7-B5D3-3237-EF85-9F555F5C2909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2:52.717" v="6225" actId="34135"/>
          <pc:sldLayoutMkLst>
            <pc:docMk/>
            <pc:sldMasterMk cId="3152224442" sldId="2147483648"/>
            <pc:sldLayoutMk cId="473430774" sldId="2147483661"/>
          </pc:sldLayoutMkLst>
          <pc:picChg chg="mod">
            <ac:chgData name="Divya Rank" userId="8a86f94f-bc51-45b1-baba-7f5d30607298" providerId="ADAL" clId="{12126C74-8380-4416-AB41-D42486FEE1A5}" dt="2025-06-16T06:22:52.717" v="6225" actId="34135"/>
            <ac:picMkLst>
              <pc:docMk/>
              <pc:sldMasterMk cId="3152224442" sldId="2147483648"/>
              <pc:sldLayoutMk cId="473430774" sldId="2147483661"/>
              <ac:picMk id="6" creationId="{E5A7D8A7-B5D3-3237-EF85-9F555F5C2909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2:49.749" v="6224" actId="34135"/>
          <pc:sldLayoutMkLst>
            <pc:docMk/>
            <pc:sldMasterMk cId="3152224442" sldId="2147483648"/>
            <pc:sldLayoutMk cId="3598736251" sldId="2147483662"/>
          </pc:sldLayoutMkLst>
          <pc:picChg chg="mod">
            <ac:chgData name="Divya Rank" userId="8a86f94f-bc51-45b1-baba-7f5d30607298" providerId="ADAL" clId="{12126C74-8380-4416-AB41-D42486FEE1A5}" dt="2025-06-16T06:22:49.749" v="6224" actId="34135"/>
            <ac:picMkLst>
              <pc:docMk/>
              <pc:sldMasterMk cId="3152224442" sldId="2147483648"/>
              <pc:sldLayoutMk cId="3598736251" sldId="2147483662"/>
              <ac:picMk id="10" creationId="{E1A34090-CF67-8E33-C715-5398E0D78BD9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3:10.089" v="6227" actId="34135"/>
          <pc:sldLayoutMkLst>
            <pc:docMk/>
            <pc:sldMasterMk cId="3152224442" sldId="2147483648"/>
            <pc:sldLayoutMk cId="3252648117" sldId="2147483663"/>
          </pc:sldLayoutMkLst>
          <pc:picChg chg="mod">
            <ac:chgData name="Divya Rank" userId="8a86f94f-bc51-45b1-baba-7f5d30607298" providerId="ADAL" clId="{12126C74-8380-4416-AB41-D42486FEE1A5}" dt="2025-06-16T06:23:10.089" v="6227" actId="34135"/>
            <ac:picMkLst>
              <pc:docMk/>
              <pc:sldMasterMk cId="3152224442" sldId="2147483648"/>
              <pc:sldLayoutMk cId="3252648117" sldId="2147483663"/>
              <ac:picMk id="3" creationId="{811343E8-39A0-4FA8-1F77-48DE85B116A6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3:11.349" v="6228" actId="34135"/>
          <pc:sldLayoutMkLst>
            <pc:docMk/>
            <pc:sldMasterMk cId="3152224442" sldId="2147483648"/>
            <pc:sldLayoutMk cId="1562149080" sldId="2147483664"/>
          </pc:sldLayoutMkLst>
          <pc:picChg chg="mod">
            <ac:chgData name="Divya Rank" userId="8a86f94f-bc51-45b1-baba-7f5d30607298" providerId="ADAL" clId="{12126C74-8380-4416-AB41-D42486FEE1A5}" dt="2025-06-16T06:23:11.349" v="6228" actId="34135"/>
            <ac:picMkLst>
              <pc:docMk/>
              <pc:sldMasterMk cId="3152224442" sldId="2147483648"/>
              <pc:sldLayoutMk cId="1562149080" sldId="2147483664"/>
              <ac:picMk id="3" creationId="{811343E8-39A0-4FA8-1F77-48DE85B116A6}"/>
            </ac:picMkLst>
          </pc:picChg>
        </pc:sldLayoutChg>
        <pc:sldLayoutChg chg="addSp delSp modSp mod">
          <pc:chgData name="Divya Rank" userId="8a86f94f-bc51-45b1-baba-7f5d30607298" providerId="ADAL" clId="{12126C74-8380-4416-AB41-D42486FEE1A5}" dt="2025-06-16T06:23:19.563" v="6230" actId="34135"/>
          <pc:sldLayoutMkLst>
            <pc:docMk/>
            <pc:sldMasterMk cId="3152224442" sldId="2147483648"/>
            <pc:sldLayoutMk cId="1919619401" sldId="2147483665"/>
          </pc:sldLayoutMkLst>
          <pc:spChg chg="add del mod">
            <ac:chgData name="Divya Rank" userId="8a86f94f-bc51-45b1-baba-7f5d30607298" providerId="ADAL" clId="{12126C74-8380-4416-AB41-D42486FEE1A5}" dt="2025-06-16T06:23:19.563" v="6230" actId="34135"/>
            <ac:spMkLst>
              <pc:docMk/>
              <pc:sldMasterMk cId="3152224442" sldId="2147483648"/>
              <pc:sldLayoutMk cId="1919619401" sldId="2147483665"/>
              <ac:spMk id="8" creationId="{2D98343A-34B6-C421-A0C1-520DF9FE62A4}"/>
            </ac:spMkLst>
          </pc:spChg>
        </pc:sldLayoutChg>
        <pc:sldLayoutChg chg="modSp mod">
          <pc:chgData name="Divya Rank" userId="8a86f94f-bc51-45b1-baba-7f5d30607298" providerId="ADAL" clId="{12126C74-8380-4416-AB41-D42486FEE1A5}" dt="2025-06-16T06:23:21.755" v="6231" actId="34135"/>
          <pc:sldLayoutMkLst>
            <pc:docMk/>
            <pc:sldMasterMk cId="3152224442" sldId="2147483648"/>
            <pc:sldLayoutMk cId="2847562585" sldId="2147483666"/>
          </pc:sldLayoutMkLst>
          <pc:spChg chg="mod">
            <ac:chgData name="Divya Rank" userId="8a86f94f-bc51-45b1-baba-7f5d30607298" providerId="ADAL" clId="{12126C74-8380-4416-AB41-D42486FEE1A5}" dt="2025-06-16T06:23:21.755" v="6231" actId="34135"/>
            <ac:spMkLst>
              <pc:docMk/>
              <pc:sldMasterMk cId="3152224442" sldId="2147483648"/>
              <pc:sldLayoutMk cId="2847562585" sldId="2147483666"/>
              <ac:spMk id="8" creationId="{2D98343A-34B6-C421-A0C1-520DF9FE62A4}"/>
            </ac:spMkLst>
          </pc:spChg>
        </pc:sldLayoutChg>
        <pc:sldLayoutChg chg="modSp mod">
          <pc:chgData name="Divya Rank" userId="8a86f94f-bc51-45b1-baba-7f5d30607298" providerId="ADAL" clId="{12126C74-8380-4416-AB41-D42486FEE1A5}" dt="2025-06-16T06:23:29.947" v="6235" actId="34135"/>
          <pc:sldLayoutMkLst>
            <pc:docMk/>
            <pc:sldMasterMk cId="3152224442" sldId="2147483648"/>
            <pc:sldLayoutMk cId="2113520472" sldId="2147483667"/>
          </pc:sldLayoutMkLst>
          <pc:picChg chg="mod">
            <ac:chgData name="Divya Rank" userId="8a86f94f-bc51-45b1-baba-7f5d30607298" providerId="ADAL" clId="{12126C74-8380-4416-AB41-D42486FEE1A5}" dt="2025-06-16T06:23:29.947" v="6235" actId="34135"/>
            <ac:picMkLst>
              <pc:docMk/>
              <pc:sldMasterMk cId="3152224442" sldId="2147483648"/>
              <pc:sldLayoutMk cId="2113520472" sldId="2147483667"/>
              <ac:picMk id="9" creationId="{6D5E72A5-C27C-4654-55AB-A19E59D2772B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3:31.606" v="6236" actId="34135"/>
          <pc:sldLayoutMkLst>
            <pc:docMk/>
            <pc:sldMasterMk cId="3152224442" sldId="2147483648"/>
            <pc:sldLayoutMk cId="617442031" sldId="2147483668"/>
          </pc:sldLayoutMkLst>
          <pc:picChg chg="mod">
            <ac:chgData name="Divya Rank" userId="8a86f94f-bc51-45b1-baba-7f5d30607298" providerId="ADAL" clId="{12126C74-8380-4416-AB41-D42486FEE1A5}" dt="2025-06-16T06:23:31.606" v="6236" actId="34135"/>
            <ac:picMkLst>
              <pc:docMk/>
              <pc:sldMasterMk cId="3152224442" sldId="2147483648"/>
              <pc:sldLayoutMk cId="617442031" sldId="2147483668"/>
              <ac:picMk id="9" creationId="{E9E6399A-C013-9634-A9C6-3168BE7BC574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3:35.492" v="6238" actId="34135"/>
          <pc:sldLayoutMkLst>
            <pc:docMk/>
            <pc:sldMasterMk cId="3152224442" sldId="2147483648"/>
            <pc:sldLayoutMk cId="628546336" sldId="2147483669"/>
          </pc:sldLayoutMkLst>
          <pc:picChg chg="mod">
            <ac:chgData name="Divya Rank" userId="8a86f94f-bc51-45b1-baba-7f5d30607298" providerId="ADAL" clId="{12126C74-8380-4416-AB41-D42486FEE1A5}" dt="2025-06-16T06:23:35.492" v="6238" actId="34135"/>
            <ac:picMkLst>
              <pc:docMk/>
              <pc:sldMasterMk cId="3152224442" sldId="2147483648"/>
              <pc:sldLayoutMk cId="628546336" sldId="2147483669"/>
              <ac:picMk id="8" creationId="{9586417C-1FC3-A28B-4880-EAFF80380180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3:37.957" v="6239" actId="34135"/>
          <pc:sldLayoutMkLst>
            <pc:docMk/>
            <pc:sldMasterMk cId="3152224442" sldId="2147483648"/>
            <pc:sldLayoutMk cId="3763401597" sldId="2147483670"/>
          </pc:sldLayoutMkLst>
          <pc:picChg chg="mod">
            <ac:chgData name="Divya Rank" userId="8a86f94f-bc51-45b1-baba-7f5d30607298" providerId="ADAL" clId="{12126C74-8380-4416-AB41-D42486FEE1A5}" dt="2025-06-16T06:23:37.957" v="6239" actId="34135"/>
            <ac:picMkLst>
              <pc:docMk/>
              <pc:sldMasterMk cId="3152224442" sldId="2147483648"/>
              <pc:sldLayoutMk cId="3763401597" sldId="2147483670"/>
              <ac:picMk id="8" creationId="{0DEAA59D-4F3D-6336-CA98-4834147DF41E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3:39.723" v="6240" actId="34135"/>
          <pc:sldLayoutMkLst>
            <pc:docMk/>
            <pc:sldMasterMk cId="3152224442" sldId="2147483648"/>
            <pc:sldLayoutMk cId="840177117" sldId="2147483671"/>
          </pc:sldLayoutMkLst>
          <pc:picChg chg="mod">
            <ac:chgData name="Divya Rank" userId="8a86f94f-bc51-45b1-baba-7f5d30607298" providerId="ADAL" clId="{12126C74-8380-4416-AB41-D42486FEE1A5}" dt="2025-06-16T06:23:39.723" v="6240" actId="34135"/>
            <ac:picMkLst>
              <pc:docMk/>
              <pc:sldMasterMk cId="3152224442" sldId="2147483648"/>
              <pc:sldLayoutMk cId="840177117" sldId="2147483671"/>
              <ac:picMk id="8" creationId="{447D4D72-F30B-549A-F5D7-5E7F2B1B233F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3:41.719" v="6241" actId="34135"/>
          <pc:sldLayoutMkLst>
            <pc:docMk/>
            <pc:sldMasterMk cId="3152224442" sldId="2147483648"/>
            <pc:sldLayoutMk cId="832685058" sldId="2147483672"/>
          </pc:sldLayoutMkLst>
          <pc:picChg chg="mod">
            <ac:chgData name="Divya Rank" userId="8a86f94f-bc51-45b1-baba-7f5d30607298" providerId="ADAL" clId="{12126C74-8380-4416-AB41-D42486FEE1A5}" dt="2025-06-16T06:23:41.719" v="6241" actId="34135"/>
            <ac:picMkLst>
              <pc:docMk/>
              <pc:sldMasterMk cId="3152224442" sldId="2147483648"/>
              <pc:sldLayoutMk cId="832685058" sldId="2147483672"/>
              <ac:picMk id="8" creationId="{5CFB36E2-671E-B349-632F-96F4276B3B09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3:45.480" v="6242" actId="34135"/>
          <pc:sldLayoutMkLst>
            <pc:docMk/>
            <pc:sldMasterMk cId="3152224442" sldId="2147483648"/>
            <pc:sldLayoutMk cId="2089765715" sldId="2147483673"/>
          </pc:sldLayoutMkLst>
          <pc:picChg chg="mod">
            <ac:chgData name="Divya Rank" userId="8a86f94f-bc51-45b1-baba-7f5d30607298" providerId="ADAL" clId="{12126C74-8380-4416-AB41-D42486FEE1A5}" dt="2025-06-16T06:23:45.480" v="6242" actId="34135"/>
            <ac:picMkLst>
              <pc:docMk/>
              <pc:sldMasterMk cId="3152224442" sldId="2147483648"/>
              <pc:sldLayoutMk cId="2089765715" sldId="2147483673"/>
              <ac:picMk id="3" creationId="{45BFB49C-D28F-6566-790F-198BBF684BF9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3:47.129" v="6243" actId="34135"/>
          <pc:sldLayoutMkLst>
            <pc:docMk/>
            <pc:sldMasterMk cId="3152224442" sldId="2147483648"/>
            <pc:sldLayoutMk cId="1837792751" sldId="2147483674"/>
          </pc:sldLayoutMkLst>
          <pc:picChg chg="mod">
            <ac:chgData name="Divya Rank" userId="8a86f94f-bc51-45b1-baba-7f5d30607298" providerId="ADAL" clId="{12126C74-8380-4416-AB41-D42486FEE1A5}" dt="2025-06-16T06:23:47.129" v="6243" actId="34135"/>
            <ac:picMkLst>
              <pc:docMk/>
              <pc:sldMasterMk cId="3152224442" sldId="2147483648"/>
              <pc:sldLayoutMk cId="1837792751" sldId="2147483674"/>
              <ac:picMk id="7" creationId="{90D792AF-96AE-D4B1-0F9E-F1B8CEA035D4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4:25.708" v="6244" actId="34135"/>
          <pc:sldLayoutMkLst>
            <pc:docMk/>
            <pc:sldMasterMk cId="3152224442" sldId="2147483648"/>
            <pc:sldLayoutMk cId="2140009758" sldId="2147483676"/>
          </pc:sldLayoutMkLst>
          <pc:picChg chg="mod">
            <ac:chgData name="Divya Rank" userId="8a86f94f-bc51-45b1-baba-7f5d30607298" providerId="ADAL" clId="{12126C74-8380-4416-AB41-D42486FEE1A5}" dt="2025-06-16T06:24:25.708" v="6244" actId="34135"/>
            <ac:picMkLst>
              <pc:docMk/>
              <pc:sldMasterMk cId="3152224442" sldId="2147483648"/>
              <pc:sldLayoutMk cId="2140009758" sldId="2147483676"/>
              <ac:picMk id="7" creationId="{F748A0C3-6A34-0BBE-AE95-27E70D2888DC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4:27.007" v="6245" actId="34135"/>
          <pc:sldLayoutMkLst>
            <pc:docMk/>
            <pc:sldMasterMk cId="3152224442" sldId="2147483648"/>
            <pc:sldLayoutMk cId="298020397" sldId="2147483678"/>
          </pc:sldLayoutMkLst>
          <pc:picChg chg="mod">
            <ac:chgData name="Divya Rank" userId="8a86f94f-bc51-45b1-baba-7f5d30607298" providerId="ADAL" clId="{12126C74-8380-4416-AB41-D42486FEE1A5}" dt="2025-06-16T06:24:27.007" v="6245" actId="34135"/>
            <ac:picMkLst>
              <pc:docMk/>
              <pc:sldMasterMk cId="3152224442" sldId="2147483648"/>
              <pc:sldLayoutMk cId="298020397" sldId="2147483678"/>
              <ac:picMk id="7" creationId="{F748A0C3-6A34-0BBE-AE95-27E70D2888DC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4:28.269" v="6246" actId="34135"/>
          <pc:sldLayoutMkLst>
            <pc:docMk/>
            <pc:sldMasterMk cId="3152224442" sldId="2147483648"/>
            <pc:sldLayoutMk cId="2739661356" sldId="2147483679"/>
          </pc:sldLayoutMkLst>
          <pc:picChg chg="mod">
            <ac:chgData name="Divya Rank" userId="8a86f94f-bc51-45b1-baba-7f5d30607298" providerId="ADAL" clId="{12126C74-8380-4416-AB41-D42486FEE1A5}" dt="2025-06-16T06:24:28.269" v="6246" actId="34135"/>
            <ac:picMkLst>
              <pc:docMk/>
              <pc:sldMasterMk cId="3152224442" sldId="2147483648"/>
              <pc:sldLayoutMk cId="2739661356" sldId="2147483679"/>
              <ac:picMk id="7" creationId="{F748A0C3-6A34-0BBE-AE95-27E70D2888DC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4:29.568" v="6247" actId="34135"/>
          <pc:sldLayoutMkLst>
            <pc:docMk/>
            <pc:sldMasterMk cId="3152224442" sldId="2147483648"/>
            <pc:sldLayoutMk cId="2958274525" sldId="2147483680"/>
          </pc:sldLayoutMkLst>
          <pc:picChg chg="mod">
            <ac:chgData name="Divya Rank" userId="8a86f94f-bc51-45b1-baba-7f5d30607298" providerId="ADAL" clId="{12126C74-8380-4416-AB41-D42486FEE1A5}" dt="2025-06-16T06:24:29.568" v="6247" actId="34135"/>
            <ac:picMkLst>
              <pc:docMk/>
              <pc:sldMasterMk cId="3152224442" sldId="2147483648"/>
              <pc:sldLayoutMk cId="2958274525" sldId="2147483680"/>
              <ac:picMk id="7" creationId="{F748A0C3-6A34-0BBE-AE95-27E70D2888DC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4:30.948" v="6248" actId="34135"/>
          <pc:sldLayoutMkLst>
            <pc:docMk/>
            <pc:sldMasterMk cId="3152224442" sldId="2147483648"/>
            <pc:sldLayoutMk cId="259254241" sldId="2147483681"/>
          </pc:sldLayoutMkLst>
          <pc:picChg chg="mod">
            <ac:chgData name="Divya Rank" userId="8a86f94f-bc51-45b1-baba-7f5d30607298" providerId="ADAL" clId="{12126C74-8380-4416-AB41-D42486FEE1A5}" dt="2025-06-16T06:24:30.948" v="6248" actId="34135"/>
            <ac:picMkLst>
              <pc:docMk/>
              <pc:sldMasterMk cId="3152224442" sldId="2147483648"/>
              <pc:sldLayoutMk cId="259254241" sldId="2147483681"/>
              <ac:picMk id="7" creationId="{F748A0C3-6A34-0BBE-AE95-27E70D2888DC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4:36.543" v="6249" actId="34135"/>
          <pc:sldLayoutMkLst>
            <pc:docMk/>
            <pc:sldMasterMk cId="3152224442" sldId="2147483648"/>
            <pc:sldLayoutMk cId="2148999013" sldId="2147483682"/>
          </pc:sldLayoutMkLst>
          <pc:picChg chg="mod">
            <ac:chgData name="Divya Rank" userId="8a86f94f-bc51-45b1-baba-7f5d30607298" providerId="ADAL" clId="{12126C74-8380-4416-AB41-D42486FEE1A5}" dt="2025-06-16T06:24:36.543" v="6249" actId="34135"/>
            <ac:picMkLst>
              <pc:docMk/>
              <pc:sldMasterMk cId="3152224442" sldId="2147483648"/>
              <pc:sldLayoutMk cId="2148999013" sldId="2147483682"/>
              <ac:picMk id="7" creationId="{F748A0C3-6A34-0BBE-AE95-27E70D2888DC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4:38.018" v="6250" actId="34135"/>
          <pc:sldLayoutMkLst>
            <pc:docMk/>
            <pc:sldMasterMk cId="3152224442" sldId="2147483648"/>
            <pc:sldLayoutMk cId="176798657" sldId="2147483683"/>
          </pc:sldLayoutMkLst>
          <pc:picChg chg="mod">
            <ac:chgData name="Divya Rank" userId="8a86f94f-bc51-45b1-baba-7f5d30607298" providerId="ADAL" clId="{12126C74-8380-4416-AB41-D42486FEE1A5}" dt="2025-06-16T06:24:38.018" v="6250" actId="34135"/>
            <ac:picMkLst>
              <pc:docMk/>
              <pc:sldMasterMk cId="3152224442" sldId="2147483648"/>
              <pc:sldLayoutMk cId="176798657" sldId="2147483683"/>
              <ac:picMk id="7" creationId="{F748A0C3-6A34-0BBE-AE95-27E70D2888DC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4:41.734" v="6252" actId="34135"/>
          <pc:sldLayoutMkLst>
            <pc:docMk/>
            <pc:sldMasterMk cId="3152224442" sldId="2147483648"/>
            <pc:sldLayoutMk cId="1836226014" sldId="2147483684"/>
          </pc:sldLayoutMkLst>
          <pc:picChg chg="mod">
            <ac:chgData name="Divya Rank" userId="8a86f94f-bc51-45b1-baba-7f5d30607298" providerId="ADAL" clId="{12126C74-8380-4416-AB41-D42486FEE1A5}" dt="2025-06-16T06:24:41.734" v="6252" actId="34135"/>
            <ac:picMkLst>
              <pc:docMk/>
              <pc:sldMasterMk cId="3152224442" sldId="2147483648"/>
              <pc:sldLayoutMk cId="1836226014" sldId="2147483684"/>
              <ac:picMk id="8" creationId="{322A722B-7E5D-FE21-FABC-590DBDCF0E0D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5:16.543" v="6253" actId="34135"/>
          <pc:sldLayoutMkLst>
            <pc:docMk/>
            <pc:sldMasterMk cId="3152224442" sldId="2147483648"/>
            <pc:sldLayoutMk cId="3462220353" sldId="2147483685"/>
          </pc:sldLayoutMkLst>
          <pc:picChg chg="mod">
            <ac:chgData name="Divya Rank" userId="8a86f94f-bc51-45b1-baba-7f5d30607298" providerId="ADAL" clId="{12126C74-8380-4416-AB41-D42486FEE1A5}" dt="2025-06-16T06:25:16.543" v="6253" actId="34135"/>
            <ac:picMkLst>
              <pc:docMk/>
              <pc:sldMasterMk cId="3152224442" sldId="2147483648"/>
              <pc:sldLayoutMk cId="3462220353" sldId="2147483685"/>
              <ac:picMk id="8" creationId="{2C47FFA4-8C89-8058-E35C-3D622D3979F1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5:18.068" v="6254" actId="34135"/>
          <pc:sldLayoutMkLst>
            <pc:docMk/>
            <pc:sldMasterMk cId="3152224442" sldId="2147483648"/>
            <pc:sldLayoutMk cId="304210141" sldId="2147483686"/>
          </pc:sldLayoutMkLst>
          <pc:picChg chg="mod">
            <ac:chgData name="Divya Rank" userId="8a86f94f-bc51-45b1-baba-7f5d30607298" providerId="ADAL" clId="{12126C74-8380-4416-AB41-D42486FEE1A5}" dt="2025-06-16T06:25:18.068" v="6254" actId="34135"/>
            <ac:picMkLst>
              <pc:docMk/>
              <pc:sldMasterMk cId="3152224442" sldId="2147483648"/>
              <pc:sldLayoutMk cId="304210141" sldId="2147483686"/>
              <ac:picMk id="16" creationId="{3AF66D69-9B8A-7133-A3BA-0E188AAF75B2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5:22.647" v="6255" actId="34135"/>
          <pc:sldLayoutMkLst>
            <pc:docMk/>
            <pc:sldMasterMk cId="3152224442" sldId="2147483648"/>
            <pc:sldLayoutMk cId="1941395504" sldId="2147483687"/>
          </pc:sldLayoutMkLst>
          <pc:picChg chg="mod">
            <ac:chgData name="Divya Rank" userId="8a86f94f-bc51-45b1-baba-7f5d30607298" providerId="ADAL" clId="{12126C74-8380-4416-AB41-D42486FEE1A5}" dt="2025-06-16T06:25:22.647" v="6255" actId="34135"/>
            <ac:picMkLst>
              <pc:docMk/>
              <pc:sldMasterMk cId="3152224442" sldId="2147483648"/>
              <pc:sldLayoutMk cId="1941395504" sldId="2147483687"/>
              <ac:picMk id="8" creationId="{0DEAA59D-4F3D-6336-CA98-4834147DF41E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5:24.136" v="6256" actId="34135"/>
          <pc:sldLayoutMkLst>
            <pc:docMk/>
            <pc:sldMasterMk cId="3152224442" sldId="2147483648"/>
            <pc:sldLayoutMk cId="989358535" sldId="2147483688"/>
          </pc:sldLayoutMkLst>
          <pc:picChg chg="mod">
            <ac:chgData name="Divya Rank" userId="8a86f94f-bc51-45b1-baba-7f5d30607298" providerId="ADAL" clId="{12126C74-8380-4416-AB41-D42486FEE1A5}" dt="2025-06-16T06:25:24.136" v="6256" actId="34135"/>
            <ac:picMkLst>
              <pc:docMk/>
              <pc:sldMasterMk cId="3152224442" sldId="2147483648"/>
              <pc:sldLayoutMk cId="989358535" sldId="2147483688"/>
              <ac:picMk id="8" creationId="{447D4D72-F30B-549A-F5D7-5E7F2B1B233F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5:25.488" v="6257" actId="34135"/>
          <pc:sldLayoutMkLst>
            <pc:docMk/>
            <pc:sldMasterMk cId="3152224442" sldId="2147483648"/>
            <pc:sldLayoutMk cId="4170010883" sldId="2147483689"/>
          </pc:sldLayoutMkLst>
          <pc:picChg chg="mod">
            <ac:chgData name="Divya Rank" userId="8a86f94f-bc51-45b1-baba-7f5d30607298" providerId="ADAL" clId="{12126C74-8380-4416-AB41-D42486FEE1A5}" dt="2025-06-16T06:25:25.488" v="6257" actId="34135"/>
            <ac:picMkLst>
              <pc:docMk/>
              <pc:sldMasterMk cId="3152224442" sldId="2147483648"/>
              <pc:sldLayoutMk cId="4170010883" sldId="2147483689"/>
              <ac:picMk id="8" creationId="{5CFB36E2-671E-B349-632F-96F4276B3B09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4:39.798" v="6251" actId="34135"/>
          <pc:sldLayoutMkLst>
            <pc:docMk/>
            <pc:sldMasterMk cId="3152224442" sldId="2147483648"/>
            <pc:sldLayoutMk cId="4238371717" sldId="2147483690"/>
          </pc:sldLayoutMkLst>
          <pc:picChg chg="mod">
            <ac:chgData name="Divya Rank" userId="8a86f94f-bc51-45b1-baba-7f5d30607298" providerId="ADAL" clId="{12126C74-8380-4416-AB41-D42486FEE1A5}" dt="2025-06-16T06:24:39.798" v="6251" actId="34135"/>
            <ac:picMkLst>
              <pc:docMk/>
              <pc:sldMasterMk cId="3152224442" sldId="2147483648"/>
              <pc:sldLayoutMk cId="4238371717" sldId="2147483690"/>
              <ac:picMk id="7" creationId="{F748A0C3-6A34-0BBE-AE95-27E70D2888DC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3:24.287" v="6232" actId="34135"/>
          <pc:sldLayoutMkLst>
            <pc:docMk/>
            <pc:sldMasterMk cId="3152224442" sldId="2147483648"/>
            <pc:sldLayoutMk cId="898894996" sldId="2147483691"/>
          </pc:sldLayoutMkLst>
          <pc:picChg chg="mod">
            <ac:chgData name="Divya Rank" userId="8a86f94f-bc51-45b1-baba-7f5d30607298" providerId="ADAL" clId="{12126C74-8380-4416-AB41-D42486FEE1A5}" dt="2025-06-16T06:23:24.287" v="6232" actId="34135"/>
            <ac:picMkLst>
              <pc:docMk/>
              <pc:sldMasterMk cId="3152224442" sldId="2147483648"/>
              <pc:sldLayoutMk cId="898894996" sldId="2147483691"/>
              <ac:picMk id="8" creationId="{0DEAA59D-4F3D-6336-CA98-4834147DF41E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3:28.329" v="6234" actId="34135"/>
          <pc:sldLayoutMkLst>
            <pc:docMk/>
            <pc:sldMasterMk cId="3152224442" sldId="2147483648"/>
            <pc:sldLayoutMk cId="81542186" sldId="2147483692"/>
          </pc:sldLayoutMkLst>
          <pc:picChg chg="mod">
            <ac:chgData name="Divya Rank" userId="8a86f94f-bc51-45b1-baba-7f5d30607298" providerId="ADAL" clId="{12126C74-8380-4416-AB41-D42486FEE1A5}" dt="2025-06-16T06:23:28.329" v="6234" actId="34135"/>
            <ac:picMkLst>
              <pc:docMk/>
              <pc:sldMasterMk cId="3152224442" sldId="2147483648"/>
              <pc:sldLayoutMk cId="81542186" sldId="2147483692"/>
              <ac:picMk id="8" creationId="{0DEAA59D-4F3D-6336-CA98-4834147DF41E}"/>
            </ac:picMkLst>
          </pc:picChg>
        </pc:sldLayoutChg>
        <pc:sldLayoutChg chg="modSp mod">
          <pc:chgData name="Divya Rank" userId="8a86f94f-bc51-45b1-baba-7f5d30607298" providerId="ADAL" clId="{12126C74-8380-4416-AB41-D42486FEE1A5}" dt="2025-06-16T06:23:26.067" v="6233" actId="34135"/>
          <pc:sldLayoutMkLst>
            <pc:docMk/>
            <pc:sldMasterMk cId="3152224442" sldId="2147483648"/>
            <pc:sldLayoutMk cId="2868583355" sldId="2147483693"/>
          </pc:sldLayoutMkLst>
          <pc:picChg chg="mod">
            <ac:chgData name="Divya Rank" userId="8a86f94f-bc51-45b1-baba-7f5d30607298" providerId="ADAL" clId="{12126C74-8380-4416-AB41-D42486FEE1A5}" dt="2025-06-16T06:23:26.067" v="6233" actId="34135"/>
            <ac:picMkLst>
              <pc:docMk/>
              <pc:sldMasterMk cId="3152224442" sldId="2147483648"/>
              <pc:sldLayoutMk cId="2868583355" sldId="2147483693"/>
              <ac:picMk id="8" creationId="{0DEAA59D-4F3D-6336-CA98-4834147DF41E}"/>
            </ac:picMkLst>
          </pc:picChg>
        </pc:sldLayoutChg>
        <pc:sldLayoutChg chg="addSp delSp modSp mod">
          <pc:chgData name="Divya Rank" userId="8a86f94f-bc51-45b1-baba-7f5d30607298" providerId="ADAL" clId="{12126C74-8380-4416-AB41-D42486FEE1A5}" dt="2025-06-16T06:25:28.446" v="6259" actId="34135"/>
          <pc:sldLayoutMkLst>
            <pc:docMk/>
            <pc:sldMasterMk cId="3152224442" sldId="2147483648"/>
            <pc:sldLayoutMk cId="751178523" sldId="2147483694"/>
          </pc:sldLayoutMkLst>
          <pc:picChg chg="add mod">
            <ac:chgData name="Divya Rank" userId="8a86f94f-bc51-45b1-baba-7f5d30607298" providerId="ADAL" clId="{12126C74-8380-4416-AB41-D42486FEE1A5}" dt="2025-06-16T06:25:28.446" v="6259" actId="34135"/>
            <ac:picMkLst>
              <pc:docMk/>
              <pc:sldMasterMk cId="3152224442" sldId="2147483648"/>
              <pc:sldLayoutMk cId="751178523" sldId="2147483694"/>
              <ac:picMk id="8" creationId="{BE1632AC-2145-86CE-F141-422C696EDD1C}"/>
            </ac:picMkLst>
          </pc:picChg>
        </pc:sldLayoutChg>
      </pc:sldMasterChg>
    </pc:docChg>
  </pc:docChgLst>
  <pc:docChgLst>
    <pc:chgData name="Anand Singh" userId="S::anand.singh@bluedataconsulting.in::024e4842-ae34-4cb2-9023-4f477d26b9d9" providerId="AD" clId="Web-{F8CF6B03-75D7-048C-A32D-F21365553C77}"/>
    <pc:docChg chg="modSld">
      <pc:chgData name="Anand Singh" userId="S::anand.singh@bluedataconsulting.in::024e4842-ae34-4cb2-9023-4f477d26b9d9" providerId="AD" clId="Web-{F8CF6B03-75D7-048C-A32D-F21365553C77}" dt="2025-06-10T10:30:41.235" v="0" actId="1076"/>
      <pc:docMkLst>
        <pc:docMk/>
      </pc:docMkLst>
      <pc:sldChg chg="modSp">
        <pc:chgData name="Anand Singh" userId="S::anand.singh@bluedataconsulting.in::024e4842-ae34-4cb2-9023-4f477d26b9d9" providerId="AD" clId="Web-{F8CF6B03-75D7-048C-A32D-F21365553C77}" dt="2025-06-10T10:30:41.235" v="0" actId="1076"/>
        <pc:sldMkLst>
          <pc:docMk/>
          <pc:sldMk cId="90865873" sldId="1284"/>
        </pc:sldMkLst>
      </pc:sldChg>
    </pc:docChg>
  </pc:docChgLst>
  <pc:docChgLst>
    <pc:chgData name="Divya Rank" userId="8a86f94f-bc51-45b1-baba-7f5d30607298" providerId="ADAL" clId="{78EEDE45-01AF-4D07-82E4-B16E0EF225E9}"/>
    <pc:docChg chg="undo custSel addSld delSld modSld modMainMaster addSection modSection">
      <pc:chgData name="Divya Rank" userId="8a86f94f-bc51-45b1-baba-7f5d30607298" providerId="ADAL" clId="{78EEDE45-01AF-4D07-82E4-B16E0EF225E9}" dt="2025-06-10T10:17:24.367" v="873" actId="113"/>
      <pc:docMkLst>
        <pc:docMk/>
      </pc:docMkLst>
      <pc:sldChg chg="delSp modSp add mod setBg">
        <pc:chgData name="Divya Rank" userId="8a86f94f-bc51-45b1-baba-7f5d30607298" providerId="ADAL" clId="{78EEDE45-01AF-4D07-82E4-B16E0EF225E9}" dt="2025-06-10T10:10:40.857" v="848"/>
        <pc:sldMkLst>
          <pc:docMk/>
          <pc:sldMk cId="3717373615" sldId="310"/>
        </pc:sldMkLst>
        <pc:spChg chg="mod">
          <ac:chgData name="Divya Rank" userId="8a86f94f-bc51-45b1-baba-7f5d30607298" providerId="ADAL" clId="{78EEDE45-01AF-4D07-82E4-B16E0EF225E9}" dt="2025-06-10T10:09:46.505" v="847" actId="2711"/>
          <ac:spMkLst>
            <pc:docMk/>
            <pc:sldMk cId="3717373615" sldId="310"/>
            <ac:spMk id="2" creationId="{66E05483-A5DF-58EA-2FCF-EC4B2F9AB2D3}"/>
          </ac:spMkLst>
        </pc:spChg>
        <pc:spChg chg="mod">
          <ac:chgData name="Divya Rank" userId="8a86f94f-bc51-45b1-baba-7f5d30607298" providerId="ADAL" clId="{78EEDE45-01AF-4D07-82E4-B16E0EF225E9}" dt="2025-06-10T10:09:27.087" v="844" actId="20577"/>
          <ac:spMkLst>
            <pc:docMk/>
            <pc:sldMk cId="3717373615" sldId="310"/>
            <ac:spMk id="10" creationId="{3A713A12-E9D8-A1E5-E5EF-0BBAF757CCD9}"/>
          </ac:spMkLst>
        </pc:spChg>
        <pc:spChg chg="mod">
          <ac:chgData name="Divya Rank" userId="8a86f94f-bc51-45b1-baba-7f5d30607298" providerId="ADAL" clId="{78EEDE45-01AF-4D07-82E4-B16E0EF225E9}" dt="2025-06-10T10:10:40.857" v="848"/>
          <ac:spMkLst>
            <pc:docMk/>
            <pc:sldMk cId="3717373615" sldId="310"/>
            <ac:spMk id="16" creationId="{E245DB21-43A1-B505-1703-6FC5AA3D12C8}"/>
          </ac:spMkLst>
        </pc:spChg>
      </pc:sldChg>
      <pc:sldChg chg="addSp delSp modSp add mod">
        <pc:chgData name="Divya Rank" userId="8a86f94f-bc51-45b1-baba-7f5d30607298" providerId="ADAL" clId="{78EEDE45-01AF-4D07-82E4-B16E0EF225E9}" dt="2025-06-10T10:17:24.367" v="873" actId="113"/>
        <pc:sldMkLst>
          <pc:docMk/>
          <pc:sldMk cId="2593176626" sldId="1272"/>
        </pc:sldMkLst>
        <pc:spChg chg="mod">
          <ac:chgData name="Divya Rank" userId="8a86f94f-bc51-45b1-baba-7f5d30607298" providerId="ADAL" clId="{78EEDE45-01AF-4D07-82E4-B16E0EF225E9}" dt="2025-06-10T10:05:11.873" v="814" actId="2711"/>
          <ac:spMkLst>
            <pc:docMk/>
            <pc:sldMk cId="2593176626" sldId="1272"/>
            <ac:spMk id="2" creationId="{62751020-4B87-5CA4-19EA-74A3470AD369}"/>
          </ac:spMkLst>
        </pc:spChg>
        <pc:spChg chg="add mod">
          <ac:chgData name="Divya Rank" userId="8a86f94f-bc51-45b1-baba-7f5d30607298" providerId="ADAL" clId="{78EEDE45-01AF-4D07-82E4-B16E0EF225E9}" dt="2025-06-10T10:05:21.364" v="816"/>
          <ac:spMkLst>
            <pc:docMk/>
            <pc:sldMk cId="2593176626" sldId="1272"/>
            <ac:spMk id="3" creationId="{88475E14-4658-3C31-7BB6-E9C763C29620}"/>
          </ac:spMkLst>
        </pc:spChg>
        <pc:spChg chg="add mod">
          <ac:chgData name="Divya Rank" userId="8a86f94f-bc51-45b1-baba-7f5d30607298" providerId="ADAL" clId="{78EEDE45-01AF-4D07-82E4-B16E0EF225E9}" dt="2025-06-10T10:05:42.579" v="818"/>
          <ac:spMkLst>
            <pc:docMk/>
            <pc:sldMk cId="2593176626" sldId="1272"/>
            <ac:spMk id="6" creationId="{2B2B23FA-01FD-C3D9-B4B4-97012382D78D}"/>
          </ac:spMkLst>
        </pc:spChg>
        <pc:spChg chg="add mod">
          <ac:chgData name="Divya Rank" userId="8a86f94f-bc51-45b1-baba-7f5d30607298" providerId="ADAL" clId="{78EEDE45-01AF-4D07-82E4-B16E0EF225E9}" dt="2025-06-10T10:05:49.487" v="819"/>
          <ac:spMkLst>
            <pc:docMk/>
            <pc:sldMk cId="2593176626" sldId="1272"/>
            <ac:spMk id="8" creationId="{7950B99C-0383-87C7-4DC5-3BCCAEE06DD9}"/>
          </ac:spMkLst>
        </pc:spChg>
        <pc:spChg chg="mod">
          <ac:chgData name="Divya Rank" userId="8a86f94f-bc51-45b1-baba-7f5d30607298" providerId="ADAL" clId="{78EEDE45-01AF-4D07-82E4-B16E0EF225E9}" dt="2025-06-10T10:05:11.873" v="814" actId="2711"/>
          <ac:spMkLst>
            <pc:docMk/>
            <pc:sldMk cId="2593176626" sldId="1272"/>
            <ac:spMk id="10" creationId="{F781BA50-F86E-A501-3470-A4B23A9025FA}"/>
          </ac:spMkLst>
        </pc:spChg>
        <pc:graphicFrameChg chg="modGraphic">
          <ac:chgData name="Divya Rank" userId="8a86f94f-bc51-45b1-baba-7f5d30607298" providerId="ADAL" clId="{78EEDE45-01AF-4D07-82E4-B16E0EF225E9}" dt="2025-06-10T10:17:24.367" v="873" actId="113"/>
          <ac:graphicFrameMkLst>
            <pc:docMk/>
            <pc:sldMk cId="2593176626" sldId="1272"/>
            <ac:graphicFrameMk id="13" creationId="{19E519E2-2134-4EF2-3A13-47DD86C33481}"/>
          </ac:graphicFrameMkLst>
        </pc:graphicFrameChg>
        <pc:picChg chg="add mod">
          <ac:chgData name="Divya Rank" userId="8a86f94f-bc51-45b1-baba-7f5d30607298" providerId="ADAL" clId="{78EEDE45-01AF-4D07-82E4-B16E0EF225E9}" dt="2025-06-10T10:12:48.125" v="851" actId="34135"/>
          <ac:picMkLst>
            <pc:docMk/>
            <pc:sldMk cId="2593176626" sldId="1272"/>
            <ac:picMk id="9" creationId="{83B67940-8CCE-ED66-EC75-3359BAAC4996}"/>
          </ac:picMkLst>
        </pc:picChg>
      </pc:sldChg>
      <pc:sldChg chg="addSp delSp modSp del mod">
        <pc:chgData name="Divya Rank" userId="8a86f94f-bc51-45b1-baba-7f5d30607298" providerId="ADAL" clId="{78EEDE45-01AF-4D07-82E4-B16E0EF225E9}" dt="2025-06-10T09:20:25.107" v="337" actId="47"/>
        <pc:sldMkLst>
          <pc:docMk/>
          <pc:sldMk cId="1699660927" sldId="1276"/>
        </pc:sldMkLst>
      </pc:sldChg>
      <pc:sldChg chg="addSp modSp del mod">
        <pc:chgData name="Divya Rank" userId="8a86f94f-bc51-45b1-baba-7f5d30607298" providerId="ADAL" clId="{78EEDE45-01AF-4D07-82E4-B16E0EF225E9}" dt="2025-06-10T09:12:35.245" v="182" actId="47"/>
        <pc:sldMkLst>
          <pc:docMk/>
          <pc:sldMk cId="3890595361" sldId="1282"/>
        </pc:sldMkLst>
      </pc:sldChg>
      <pc:sldChg chg="modSp mod">
        <pc:chgData name="Divya Rank" userId="8a86f94f-bc51-45b1-baba-7f5d30607298" providerId="ADAL" clId="{78EEDE45-01AF-4D07-82E4-B16E0EF225E9}" dt="2025-06-10T09:11:35.864" v="164" actId="113"/>
        <pc:sldMkLst>
          <pc:docMk/>
          <pc:sldMk cId="4195937019" sldId="1283"/>
        </pc:sldMkLst>
        <pc:spChg chg="mod">
          <ac:chgData name="Divya Rank" userId="8a86f94f-bc51-45b1-baba-7f5d30607298" providerId="ADAL" clId="{78EEDE45-01AF-4D07-82E4-B16E0EF225E9}" dt="2025-06-10T09:11:35.864" v="164" actId="113"/>
          <ac:spMkLst>
            <pc:docMk/>
            <pc:sldMk cId="4195937019" sldId="1283"/>
            <ac:spMk id="2" creationId="{742E63C4-5843-AB38-C847-430624D55520}"/>
          </ac:spMkLst>
        </pc:spChg>
      </pc:sldChg>
      <pc:sldChg chg="modSp mod">
        <pc:chgData name="Divya Rank" userId="8a86f94f-bc51-45b1-baba-7f5d30607298" providerId="ADAL" clId="{78EEDE45-01AF-4D07-82E4-B16E0EF225E9}" dt="2025-06-10T09:12:53.113" v="185" actId="113"/>
        <pc:sldMkLst>
          <pc:docMk/>
          <pc:sldMk cId="90865873" sldId="1284"/>
        </pc:sldMkLst>
        <pc:spChg chg="mod">
          <ac:chgData name="Divya Rank" userId="8a86f94f-bc51-45b1-baba-7f5d30607298" providerId="ADAL" clId="{78EEDE45-01AF-4D07-82E4-B16E0EF225E9}" dt="2025-06-10T09:12:53.113" v="185" actId="113"/>
          <ac:spMkLst>
            <pc:docMk/>
            <pc:sldMk cId="90865873" sldId="1284"/>
            <ac:spMk id="2" creationId="{A0F0D5A5-9665-03B2-0069-6FD6E60CF2E2}"/>
          </ac:spMkLst>
        </pc:spChg>
      </pc:sldChg>
      <pc:sldChg chg="modSp mod">
        <pc:chgData name="Divya Rank" userId="8a86f94f-bc51-45b1-baba-7f5d30607298" providerId="ADAL" clId="{78EEDE45-01AF-4D07-82E4-B16E0EF225E9}" dt="2025-06-10T09:12:50.960" v="184" actId="113"/>
        <pc:sldMkLst>
          <pc:docMk/>
          <pc:sldMk cId="596106588" sldId="1287"/>
        </pc:sldMkLst>
        <pc:spChg chg="mod">
          <ac:chgData name="Divya Rank" userId="8a86f94f-bc51-45b1-baba-7f5d30607298" providerId="ADAL" clId="{78EEDE45-01AF-4D07-82E4-B16E0EF225E9}" dt="2025-06-10T09:12:50.960" v="184" actId="113"/>
          <ac:spMkLst>
            <pc:docMk/>
            <pc:sldMk cId="596106588" sldId="1287"/>
            <ac:spMk id="2" creationId="{15E3B3A6-D6C0-A52D-127A-B2F76C51502C}"/>
          </ac:spMkLst>
        </pc:spChg>
      </pc:sldChg>
      <pc:sldChg chg="modSp mod">
        <pc:chgData name="Divya Rank" userId="8a86f94f-bc51-45b1-baba-7f5d30607298" providerId="ADAL" clId="{78EEDE45-01AF-4D07-82E4-B16E0EF225E9}" dt="2025-06-10T09:12:57.756" v="187" actId="113"/>
        <pc:sldMkLst>
          <pc:docMk/>
          <pc:sldMk cId="2250755200" sldId="1289"/>
        </pc:sldMkLst>
        <pc:spChg chg="mod">
          <ac:chgData name="Divya Rank" userId="8a86f94f-bc51-45b1-baba-7f5d30607298" providerId="ADAL" clId="{78EEDE45-01AF-4D07-82E4-B16E0EF225E9}" dt="2025-06-10T09:12:57.756" v="187" actId="113"/>
          <ac:spMkLst>
            <pc:docMk/>
            <pc:sldMk cId="2250755200" sldId="1289"/>
            <ac:spMk id="2" creationId="{15A34ECB-C0A2-44A5-549A-CFA73745F49F}"/>
          </ac:spMkLst>
        </pc:spChg>
        <pc:spChg chg="mod">
          <ac:chgData name="Divya Rank" userId="8a86f94f-bc51-45b1-baba-7f5d30607298" providerId="ADAL" clId="{78EEDE45-01AF-4D07-82E4-B16E0EF225E9}" dt="2025-06-10T08:59:32.401" v="45" actId="20577"/>
          <ac:spMkLst>
            <pc:docMk/>
            <pc:sldMk cId="2250755200" sldId="1289"/>
            <ac:spMk id="4" creationId="{C42115B7-9B82-E62A-777C-94634CC217F5}"/>
          </ac:spMkLst>
        </pc:spChg>
      </pc:sldChg>
      <pc:sldChg chg="addSp delSp modSp mod">
        <pc:chgData name="Divya Rank" userId="8a86f94f-bc51-45b1-baba-7f5d30607298" providerId="ADAL" clId="{78EEDE45-01AF-4D07-82E4-B16E0EF225E9}" dt="2025-06-10T10:13:20.641" v="854" actId="34135"/>
        <pc:sldMkLst>
          <pc:docMk/>
          <pc:sldMk cId="741064419" sldId="1292"/>
        </pc:sldMkLst>
        <pc:spChg chg="mod">
          <ac:chgData name="Divya Rank" userId="8a86f94f-bc51-45b1-baba-7f5d30607298" providerId="ADAL" clId="{78EEDE45-01AF-4D07-82E4-B16E0EF225E9}" dt="2025-06-10T09:13:07.292" v="192" actId="1036"/>
          <ac:spMkLst>
            <pc:docMk/>
            <pc:sldMk cId="741064419" sldId="1292"/>
            <ac:spMk id="2" creationId="{8DC90BE5-3217-B772-B324-383996836666}"/>
          </ac:spMkLst>
        </pc:spChg>
        <pc:picChg chg="add mod">
          <ac:chgData name="Divya Rank" userId="8a86f94f-bc51-45b1-baba-7f5d30607298" providerId="ADAL" clId="{78EEDE45-01AF-4D07-82E4-B16E0EF225E9}" dt="2025-06-10T10:13:20.641" v="854" actId="34135"/>
          <ac:picMkLst>
            <pc:docMk/>
            <pc:sldMk cId="741064419" sldId="1292"/>
            <ac:picMk id="4" creationId="{920E209D-728D-1577-E77F-483BAF6EC89C}"/>
          </ac:picMkLst>
        </pc:picChg>
      </pc:sldChg>
      <pc:sldChg chg="modSp mod">
        <pc:chgData name="Divya Rank" userId="8a86f94f-bc51-45b1-baba-7f5d30607298" providerId="ADAL" clId="{78EEDE45-01AF-4D07-82E4-B16E0EF225E9}" dt="2025-06-10T09:14:59.140" v="235" actId="1036"/>
        <pc:sldMkLst>
          <pc:docMk/>
          <pc:sldMk cId="1938175801" sldId="1295"/>
        </pc:sldMkLst>
        <pc:spChg chg="mod">
          <ac:chgData name="Divya Rank" userId="8a86f94f-bc51-45b1-baba-7f5d30607298" providerId="ADAL" clId="{78EEDE45-01AF-4D07-82E4-B16E0EF225E9}" dt="2025-06-10T09:14:59.140" v="235" actId="1036"/>
          <ac:spMkLst>
            <pc:docMk/>
            <pc:sldMk cId="1938175801" sldId="1295"/>
            <ac:spMk id="2" creationId="{69A78E80-4044-3179-98CB-C9C67231ABD7}"/>
          </ac:spMkLst>
        </pc:spChg>
      </pc:sldChg>
      <pc:sldChg chg="addSp delSp modSp mod">
        <pc:chgData name="Divya Rank" userId="8a86f94f-bc51-45b1-baba-7f5d30607298" providerId="ADAL" clId="{78EEDE45-01AF-4D07-82E4-B16E0EF225E9}" dt="2025-06-10T09:15:09.006" v="252" actId="1036"/>
        <pc:sldMkLst>
          <pc:docMk/>
          <pc:sldMk cId="2362717123" sldId="1301"/>
        </pc:sldMkLst>
        <pc:spChg chg="mod">
          <ac:chgData name="Divya Rank" userId="8a86f94f-bc51-45b1-baba-7f5d30607298" providerId="ADAL" clId="{78EEDE45-01AF-4D07-82E4-B16E0EF225E9}" dt="2025-06-10T09:15:09.006" v="252" actId="1036"/>
          <ac:spMkLst>
            <pc:docMk/>
            <pc:sldMk cId="2362717123" sldId="1301"/>
            <ac:spMk id="2" creationId="{64F9DE22-C787-85C5-25D3-21B8170DAF81}"/>
          </ac:spMkLst>
        </pc:spChg>
        <pc:spChg chg="mod">
          <ac:chgData name="Divya Rank" userId="8a86f94f-bc51-45b1-baba-7f5d30607298" providerId="ADAL" clId="{78EEDE45-01AF-4D07-82E4-B16E0EF225E9}" dt="2025-06-10T08:54:15.636" v="4" actId="14100"/>
          <ac:spMkLst>
            <pc:docMk/>
            <pc:sldMk cId="2362717123" sldId="1301"/>
            <ac:spMk id="12" creationId="{2CDF78B6-4A01-9988-9B6B-7393B82FA6E5}"/>
          </ac:spMkLst>
        </pc:spChg>
      </pc:sldChg>
      <pc:sldChg chg="modSp mod">
        <pc:chgData name="Divya Rank" userId="8a86f94f-bc51-45b1-baba-7f5d30607298" providerId="ADAL" clId="{78EEDE45-01AF-4D07-82E4-B16E0EF225E9}" dt="2025-06-10T09:15:14.990" v="260" actId="1036"/>
        <pc:sldMkLst>
          <pc:docMk/>
          <pc:sldMk cId="2474915344" sldId="1302"/>
        </pc:sldMkLst>
      </pc:sldChg>
      <pc:sldChg chg="addSp delSp modSp mod">
        <pc:chgData name="Divya Rank" userId="8a86f94f-bc51-45b1-baba-7f5d30607298" providerId="ADAL" clId="{78EEDE45-01AF-4D07-82E4-B16E0EF225E9}" dt="2025-06-10T09:16:26.257" v="290" actId="1035"/>
        <pc:sldMkLst>
          <pc:docMk/>
          <pc:sldMk cId="4153874486" sldId="1305"/>
        </pc:sldMkLst>
      </pc:sldChg>
      <pc:sldChg chg="modSp mod">
        <pc:chgData name="Divya Rank" userId="8a86f94f-bc51-45b1-baba-7f5d30607298" providerId="ADAL" clId="{78EEDE45-01AF-4D07-82E4-B16E0EF225E9}" dt="2025-06-10T09:15:39.101" v="270" actId="113"/>
        <pc:sldMkLst>
          <pc:docMk/>
          <pc:sldMk cId="2735238787" sldId="1306"/>
        </pc:sldMkLst>
      </pc:sldChg>
      <pc:sldChg chg="modSp mod">
        <pc:chgData name="Divya Rank" userId="8a86f94f-bc51-45b1-baba-7f5d30607298" providerId="ADAL" clId="{78EEDE45-01AF-4D07-82E4-B16E0EF225E9}" dt="2025-06-10T09:16:51.267" v="298" actId="1035"/>
        <pc:sldMkLst>
          <pc:docMk/>
          <pc:sldMk cId="1169069124" sldId="1307"/>
        </pc:sldMkLst>
        <pc:spChg chg="mod">
          <ac:chgData name="Divya Rank" userId="8a86f94f-bc51-45b1-baba-7f5d30607298" providerId="ADAL" clId="{78EEDE45-01AF-4D07-82E4-B16E0EF225E9}" dt="2025-06-10T09:16:51.267" v="298" actId="1035"/>
          <ac:spMkLst>
            <pc:docMk/>
            <pc:sldMk cId="1169069124" sldId="1307"/>
            <ac:spMk id="2" creationId="{75B387BB-5974-1F2F-B25C-6F27D59E22FC}"/>
          </ac:spMkLst>
        </pc:spChg>
      </pc:sldChg>
      <pc:sldChg chg="addSp delSp modSp mod">
        <pc:chgData name="Divya Rank" userId="8a86f94f-bc51-45b1-baba-7f5d30607298" providerId="ADAL" clId="{78EEDE45-01AF-4D07-82E4-B16E0EF225E9}" dt="2025-06-10T09:16:22.614" v="286" actId="1035"/>
        <pc:sldMkLst>
          <pc:docMk/>
          <pc:sldMk cId="1208051429" sldId="1318"/>
        </pc:sldMkLst>
        <pc:spChg chg="add mod">
          <ac:chgData name="Divya Rank" userId="8a86f94f-bc51-45b1-baba-7f5d30607298" providerId="ADAL" clId="{78EEDE45-01AF-4D07-82E4-B16E0EF225E9}" dt="2025-06-10T09:16:22.614" v="286" actId="1035"/>
          <ac:spMkLst>
            <pc:docMk/>
            <pc:sldMk cId="1208051429" sldId="1318"/>
            <ac:spMk id="13" creationId="{C29E7919-5CDB-29DA-C861-D506B7D16E2F}"/>
          </ac:spMkLst>
        </pc:spChg>
      </pc:sldChg>
      <pc:sldChg chg="modSp mod">
        <pc:chgData name="Divya Rank" userId="8a86f94f-bc51-45b1-baba-7f5d30607298" providerId="ADAL" clId="{78EEDE45-01AF-4D07-82E4-B16E0EF225E9}" dt="2025-06-10T09:16:17.945" v="282" actId="1035"/>
        <pc:sldMkLst>
          <pc:docMk/>
          <pc:sldMk cId="1410339993" sldId="1319"/>
        </pc:sldMkLst>
        <pc:spChg chg="mod">
          <ac:chgData name="Divya Rank" userId="8a86f94f-bc51-45b1-baba-7f5d30607298" providerId="ADAL" clId="{78EEDE45-01AF-4D07-82E4-B16E0EF225E9}" dt="2025-06-10T09:16:17.945" v="282" actId="1035"/>
          <ac:spMkLst>
            <pc:docMk/>
            <pc:sldMk cId="1410339993" sldId="1319"/>
            <ac:spMk id="2" creationId="{BBABC0B8-D5C5-60C3-C191-9E6886E174AA}"/>
          </ac:spMkLst>
        </pc:spChg>
      </pc:sldChg>
      <pc:sldChg chg="modSp mod">
        <pc:chgData name="Divya Rank" userId="8a86f94f-bc51-45b1-baba-7f5d30607298" providerId="ADAL" clId="{78EEDE45-01AF-4D07-82E4-B16E0EF225E9}" dt="2025-06-10T09:16:15.206" v="281" actId="1036"/>
        <pc:sldMkLst>
          <pc:docMk/>
          <pc:sldMk cId="4045290397" sldId="1320"/>
        </pc:sldMkLst>
        <pc:spChg chg="mod">
          <ac:chgData name="Divya Rank" userId="8a86f94f-bc51-45b1-baba-7f5d30607298" providerId="ADAL" clId="{78EEDE45-01AF-4D07-82E4-B16E0EF225E9}" dt="2025-06-10T09:16:15.206" v="281" actId="1036"/>
          <ac:spMkLst>
            <pc:docMk/>
            <pc:sldMk cId="4045290397" sldId="1320"/>
            <ac:spMk id="2" creationId="{4D677FC3-A9AA-87F7-5205-1F4BA6E0D1A7}"/>
          </ac:spMkLst>
        </pc:spChg>
      </pc:sldChg>
      <pc:sldChg chg="delSp modSp mod">
        <pc:chgData name="Divya Rank" userId="8a86f94f-bc51-45b1-baba-7f5d30607298" providerId="ADAL" clId="{78EEDE45-01AF-4D07-82E4-B16E0EF225E9}" dt="2025-06-10T09:58:48.479" v="795" actId="207"/>
        <pc:sldMkLst>
          <pc:docMk/>
          <pc:sldMk cId="985695435" sldId="1321"/>
        </pc:sldMkLst>
        <pc:spChg chg="mod">
          <ac:chgData name="Divya Rank" userId="8a86f94f-bc51-45b1-baba-7f5d30607298" providerId="ADAL" clId="{78EEDE45-01AF-4D07-82E4-B16E0EF225E9}" dt="2025-06-10T09:03:40.328" v="107" actId="14100"/>
          <ac:spMkLst>
            <pc:docMk/>
            <pc:sldMk cId="985695435" sldId="1321"/>
            <ac:spMk id="8" creationId="{6C499199-20D1-6863-6490-184597A2281F}"/>
          </ac:spMkLst>
        </pc:spChg>
        <pc:spChg chg="mod">
          <ac:chgData name="Divya Rank" userId="8a86f94f-bc51-45b1-baba-7f5d30607298" providerId="ADAL" clId="{78EEDE45-01AF-4D07-82E4-B16E0EF225E9}" dt="2025-06-10T09:58:48.479" v="795" actId="207"/>
          <ac:spMkLst>
            <pc:docMk/>
            <pc:sldMk cId="985695435" sldId="1321"/>
            <ac:spMk id="9" creationId="{8CAC0E87-5038-6FF5-A771-AEAAC1A721F4}"/>
          </ac:spMkLst>
        </pc:spChg>
      </pc:sldChg>
      <pc:sldChg chg="modSp mod">
        <pc:chgData name="Divya Rank" userId="8a86f94f-bc51-45b1-baba-7f5d30607298" providerId="ADAL" clId="{78EEDE45-01AF-4D07-82E4-B16E0EF225E9}" dt="2025-06-10T09:47:01.935" v="749" actId="1076"/>
        <pc:sldMkLst>
          <pc:docMk/>
          <pc:sldMk cId="2208417850" sldId="1325"/>
        </pc:sldMkLst>
        <pc:spChg chg="mod">
          <ac:chgData name="Divya Rank" userId="8a86f94f-bc51-45b1-baba-7f5d30607298" providerId="ADAL" clId="{78EEDE45-01AF-4D07-82E4-B16E0EF225E9}" dt="2025-06-10T09:16:12.204" v="280" actId="1036"/>
          <ac:spMkLst>
            <pc:docMk/>
            <pc:sldMk cId="2208417850" sldId="1325"/>
            <ac:spMk id="2" creationId="{1E456090-5A95-607F-057B-89456B12506F}"/>
          </ac:spMkLst>
        </pc:spChg>
        <pc:spChg chg="mod">
          <ac:chgData name="Divya Rank" userId="8a86f94f-bc51-45b1-baba-7f5d30607298" providerId="ADAL" clId="{78EEDE45-01AF-4D07-82E4-B16E0EF225E9}" dt="2025-06-10T09:47:01.935" v="749" actId="1076"/>
          <ac:spMkLst>
            <pc:docMk/>
            <pc:sldMk cId="2208417850" sldId="1325"/>
            <ac:spMk id="18" creationId="{2F52BA08-A7F3-1DEA-EF31-C8BC8007C060}"/>
          </ac:spMkLst>
        </pc:spChg>
      </pc:sldChg>
      <pc:sldChg chg="modSp mod">
        <pc:chgData name="Divya Rank" userId="8a86f94f-bc51-45b1-baba-7f5d30607298" providerId="ADAL" clId="{78EEDE45-01AF-4D07-82E4-B16E0EF225E9}" dt="2025-06-10T09:17:06.040" v="300" actId="113"/>
        <pc:sldMkLst>
          <pc:docMk/>
          <pc:sldMk cId="2422551007" sldId="1326"/>
        </pc:sldMkLst>
        <pc:spChg chg="mod">
          <ac:chgData name="Divya Rank" userId="8a86f94f-bc51-45b1-baba-7f5d30607298" providerId="ADAL" clId="{78EEDE45-01AF-4D07-82E4-B16E0EF225E9}" dt="2025-06-10T09:17:06.040" v="300" actId="113"/>
          <ac:spMkLst>
            <pc:docMk/>
            <pc:sldMk cId="2422551007" sldId="1326"/>
            <ac:spMk id="2" creationId="{9FE8E975-B007-5F01-7997-C23AF145B557}"/>
          </ac:spMkLst>
        </pc:spChg>
      </pc:sldChg>
      <pc:sldChg chg="modSp mod">
        <pc:chgData name="Divya Rank" userId="8a86f94f-bc51-45b1-baba-7f5d30607298" providerId="ADAL" clId="{78EEDE45-01AF-4D07-82E4-B16E0EF225E9}" dt="2025-06-10T09:17:08.019" v="301" actId="113"/>
        <pc:sldMkLst>
          <pc:docMk/>
          <pc:sldMk cId="3185590267" sldId="1327"/>
        </pc:sldMkLst>
        <pc:spChg chg="mod">
          <ac:chgData name="Divya Rank" userId="8a86f94f-bc51-45b1-baba-7f5d30607298" providerId="ADAL" clId="{78EEDE45-01AF-4D07-82E4-B16E0EF225E9}" dt="2025-06-10T09:17:08.019" v="301" actId="113"/>
          <ac:spMkLst>
            <pc:docMk/>
            <pc:sldMk cId="3185590267" sldId="1327"/>
            <ac:spMk id="2" creationId="{C2A6A1ED-1160-A8B8-8BCC-A4C48A688B58}"/>
          </ac:spMkLst>
        </pc:spChg>
      </pc:sldChg>
      <pc:sldChg chg="modSp mod">
        <pc:chgData name="Divya Rank" userId="8a86f94f-bc51-45b1-baba-7f5d30607298" providerId="ADAL" clId="{78EEDE45-01AF-4D07-82E4-B16E0EF225E9}" dt="2025-06-10T09:41:51.022" v="708" actId="1035"/>
        <pc:sldMkLst>
          <pc:docMk/>
          <pc:sldMk cId="3025924157" sldId="1329"/>
        </pc:sldMkLst>
        <pc:spChg chg="mod">
          <ac:chgData name="Divya Rank" userId="8a86f94f-bc51-45b1-baba-7f5d30607298" providerId="ADAL" clId="{78EEDE45-01AF-4D07-82E4-B16E0EF225E9}" dt="2025-06-10T09:41:51.022" v="708" actId="1035"/>
          <ac:spMkLst>
            <pc:docMk/>
            <pc:sldMk cId="3025924157" sldId="1329"/>
            <ac:spMk id="2" creationId="{C3A1CC7A-9CCB-3D80-6B3A-2CFF7A87C6DC}"/>
          </ac:spMkLst>
        </pc:spChg>
      </pc:sldChg>
      <pc:sldChg chg="modSp mod">
        <pc:chgData name="Divya Rank" userId="8a86f94f-bc51-45b1-baba-7f5d30607298" providerId="ADAL" clId="{78EEDE45-01AF-4D07-82E4-B16E0EF225E9}" dt="2025-06-10T09:17:13.517" v="303" actId="1035"/>
        <pc:sldMkLst>
          <pc:docMk/>
          <pc:sldMk cId="4210696127" sldId="1330"/>
        </pc:sldMkLst>
        <pc:spChg chg="mod">
          <ac:chgData name="Divya Rank" userId="8a86f94f-bc51-45b1-baba-7f5d30607298" providerId="ADAL" clId="{78EEDE45-01AF-4D07-82E4-B16E0EF225E9}" dt="2025-06-10T09:17:13.517" v="303" actId="1035"/>
          <ac:spMkLst>
            <pc:docMk/>
            <pc:sldMk cId="4210696127" sldId="1330"/>
            <ac:spMk id="2" creationId="{6129CD3D-04F8-AC92-BE41-369736E8F07D}"/>
          </ac:spMkLst>
        </pc:spChg>
      </pc:sldChg>
      <pc:sldChg chg="modSp mod">
        <pc:chgData name="Divya Rank" userId="8a86f94f-bc51-45b1-baba-7f5d30607298" providerId="ADAL" clId="{78EEDE45-01AF-4D07-82E4-B16E0EF225E9}" dt="2025-06-10T09:17:17.600" v="304" actId="113"/>
        <pc:sldMkLst>
          <pc:docMk/>
          <pc:sldMk cId="428735658" sldId="1332"/>
        </pc:sldMkLst>
        <pc:spChg chg="mod">
          <ac:chgData name="Divya Rank" userId="8a86f94f-bc51-45b1-baba-7f5d30607298" providerId="ADAL" clId="{78EEDE45-01AF-4D07-82E4-B16E0EF225E9}" dt="2025-06-10T09:17:17.600" v="304" actId="113"/>
          <ac:spMkLst>
            <pc:docMk/>
            <pc:sldMk cId="428735658" sldId="1332"/>
            <ac:spMk id="2" creationId="{D3BEB841-2AEE-BE3D-A6B1-504625D21D57}"/>
          </ac:spMkLst>
        </pc:spChg>
      </pc:sldChg>
      <pc:sldChg chg="modSp mod">
        <pc:chgData name="Divya Rank" userId="8a86f94f-bc51-45b1-baba-7f5d30607298" providerId="ADAL" clId="{78EEDE45-01AF-4D07-82E4-B16E0EF225E9}" dt="2025-06-10T09:17:20.643" v="306" actId="1036"/>
        <pc:sldMkLst>
          <pc:docMk/>
          <pc:sldMk cId="1218190992" sldId="1334"/>
        </pc:sldMkLst>
        <pc:spChg chg="mod">
          <ac:chgData name="Divya Rank" userId="8a86f94f-bc51-45b1-baba-7f5d30607298" providerId="ADAL" clId="{78EEDE45-01AF-4D07-82E4-B16E0EF225E9}" dt="2025-06-10T09:17:20.643" v="306" actId="1036"/>
          <ac:spMkLst>
            <pc:docMk/>
            <pc:sldMk cId="1218190992" sldId="1334"/>
            <ac:spMk id="2" creationId="{F8BBC0D6-1518-EEA3-9970-8C4D30604055}"/>
          </ac:spMkLst>
        </pc:spChg>
      </pc:sldChg>
      <pc:sldChg chg="modSp mod">
        <pc:chgData name="Divya Rank" userId="8a86f94f-bc51-45b1-baba-7f5d30607298" providerId="ADAL" clId="{78EEDE45-01AF-4D07-82E4-B16E0EF225E9}" dt="2025-06-10T09:17:25.269" v="307" actId="113"/>
        <pc:sldMkLst>
          <pc:docMk/>
          <pc:sldMk cId="2891399107" sldId="1335"/>
        </pc:sldMkLst>
        <pc:spChg chg="mod">
          <ac:chgData name="Divya Rank" userId="8a86f94f-bc51-45b1-baba-7f5d30607298" providerId="ADAL" clId="{78EEDE45-01AF-4D07-82E4-B16E0EF225E9}" dt="2025-06-10T09:17:25.269" v="307" actId="113"/>
          <ac:spMkLst>
            <pc:docMk/>
            <pc:sldMk cId="2891399107" sldId="1335"/>
            <ac:spMk id="2" creationId="{DF0A4362-B8C4-C485-D440-8E5C56061B29}"/>
          </ac:spMkLst>
        </pc:spChg>
      </pc:sldChg>
      <pc:sldChg chg="addSp delSp modSp del mod">
        <pc:chgData name="Divya Rank" userId="8a86f94f-bc51-45b1-baba-7f5d30607298" providerId="ADAL" clId="{78EEDE45-01AF-4D07-82E4-B16E0EF225E9}" dt="2025-06-10T09:19:41.367" v="333" actId="47"/>
        <pc:sldMkLst>
          <pc:docMk/>
          <pc:sldMk cId="3149786167" sldId="1336"/>
        </pc:sldMkLst>
      </pc:sldChg>
      <pc:sldChg chg="modSp mod">
        <pc:chgData name="Divya Rank" userId="8a86f94f-bc51-45b1-baba-7f5d30607298" providerId="ADAL" clId="{78EEDE45-01AF-4D07-82E4-B16E0EF225E9}" dt="2025-06-10T10:15:38.527" v="868" actId="1076"/>
        <pc:sldMkLst>
          <pc:docMk/>
          <pc:sldMk cId="1966804136" sldId="1368"/>
        </pc:sldMkLst>
        <pc:spChg chg="mod">
          <ac:chgData name="Divya Rank" userId="8a86f94f-bc51-45b1-baba-7f5d30607298" providerId="ADAL" clId="{78EEDE45-01AF-4D07-82E4-B16E0EF225E9}" dt="2025-06-10T09:22:33.290" v="451" actId="1036"/>
          <ac:spMkLst>
            <pc:docMk/>
            <pc:sldMk cId="1966804136" sldId="1368"/>
            <ac:spMk id="2" creationId="{F856B2E5-378B-1279-9C88-3B7060CEE661}"/>
          </ac:spMkLst>
        </pc:spChg>
        <pc:spChg chg="mod">
          <ac:chgData name="Divya Rank" userId="8a86f94f-bc51-45b1-baba-7f5d30607298" providerId="ADAL" clId="{78EEDE45-01AF-4D07-82E4-B16E0EF225E9}" dt="2025-06-10T09:46:09.870" v="742" actId="404"/>
          <ac:spMkLst>
            <pc:docMk/>
            <pc:sldMk cId="1966804136" sldId="1368"/>
            <ac:spMk id="32" creationId="{E72C3D43-E5E9-681F-EEAD-9E9BB4F47D40}"/>
          </ac:spMkLst>
        </pc:spChg>
        <pc:spChg chg="mod">
          <ac:chgData name="Divya Rank" userId="8a86f94f-bc51-45b1-baba-7f5d30607298" providerId="ADAL" clId="{78EEDE45-01AF-4D07-82E4-B16E0EF225E9}" dt="2025-06-10T09:46:09.870" v="742" actId="404"/>
          <ac:spMkLst>
            <pc:docMk/>
            <pc:sldMk cId="1966804136" sldId="1368"/>
            <ac:spMk id="59" creationId="{A534172B-7C30-B6CC-130C-18119FD225D6}"/>
          </ac:spMkLst>
        </pc:spChg>
        <pc:spChg chg="mod">
          <ac:chgData name="Divya Rank" userId="8a86f94f-bc51-45b1-baba-7f5d30607298" providerId="ADAL" clId="{78EEDE45-01AF-4D07-82E4-B16E0EF225E9}" dt="2025-06-10T09:46:09.870" v="742" actId="404"/>
          <ac:spMkLst>
            <pc:docMk/>
            <pc:sldMk cId="1966804136" sldId="1368"/>
            <ac:spMk id="70" creationId="{68A93FF5-4C56-0C89-ED57-AB4B27FE00DC}"/>
          </ac:spMkLst>
        </pc:spChg>
        <pc:spChg chg="mod">
          <ac:chgData name="Divya Rank" userId="8a86f94f-bc51-45b1-baba-7f5d30607298" providerId="ADAL" clId="{78EEDE45-01AF-4D07-82E4-B16E0EF225E9}" dt="2025-06-10T09:46:09.870" v="742" actId="404"/>
          <ac:spMkLst>
            <pc:docMk/>
            <pc:sldMk cId="1966804136" sldId="1368"/>
            <ac:spMk id="74" creationId="{FA8117EA-2F85-5531-4CCB-0C705D450F59}"/>
          </ac:spMkLst>
        </pc:spChg>
      </pc:sldChg>
      <pc:sldChg chg="modSp mod">
        <pc:chgData name="Divya Rank" userId="8a86f94f-bc51-45b1-baba-7f5d30607298" providerId="ADAL" clId="{78EEDE45-01AF-4D07-82E4-B16E0EF225E9}" dt="2025-06-10T09:46:34.446" v="747" actId="14100"/>
        <pc:sldMkLst>
          <pc:docMk/>
          <pc:sldMk cId="130700123" sldId="1369"/>
        </pc:sldMkLst>
        <pc:spChg chg="mod">
          <ac:chgData name="Divya Rank" userId="8a86f94f-bc51-45b1-baba-7f5d30607298" providerId="ADAL" clId="{78EEDE45-01AF-4D07-82E4-B16E0EF225E9}" dt="2025-06-10T09:22:02.096" v="436" actId="1036"/>
          <ac:spMkLst>
            <pc:docMk/>
            <pc:sldMk cId="130700123" sldId="1369"/>
            <ac:spMk id="2" creationId="{782D7620-E3EE-EE28-654D-15309A1829E8}"/>
          </ac:spMkLst>
        </pc:spChg>
        <pc:spChg chg="mod">
          <ac:chgData name="Divya Rank" userId="8a86f94f-bc51-45b1-baba-7f5d30607298" providerId="ADAL" clId="{78EEDE45-01AF-4D07-82E4-B16E0EF225E9}" dt="2025-06-10T09:46:34.446" v="747" actId="14100"/>
          <ac:spMkLst>
            <pc:docMk/>
            <pc:sldMk cId="130700123" sldId="1369"/>
            <ac:spMk id="30" creationId="{E68E64E5-5D4D-974A-8ACB-0FD55DE48396}"/>
          </ac:spMkLst>
        </pc:spChg>
      </pc:sldChg>
      <pc:sldChg chg="modSp mod">
        <pc:chgData name="Divya Rank" userId="8a86f94f-bc51-45b1-baba-7f5d30607298" providerId="ADAL" clId="{78EEDE45-01AF-4D07-82E4-B16E0EF225E9}" dt="2025-06-10T09:22:36.835" v="459" actId="1036"/>
        <pc:sldMkLst>
          <pc:docMk/>
          <pc:sldMk cId="1056810274" sldId="1370"/>
        </pc:sldMkLst>
        <pc:spChg chg="mod">
          <ac:chgData name="Divya Rank" userId="8a86f94f-bc51-45b1-baba-7f5d30607298" providerId="ADAL" clId="{78EEDE45-01AF-4D07-82E4-B16E0EF225E9}" dt="2025-06-10T09:22:36.835" v="459" actId="1036"/>
          <ac:spMkLst>
            <pc:docMk/>
            <pc:sldMk cId="1056810274" sldId="1370"/>
            <ac:spMk id="2" creationId="{DAF375E7-C74C-73BB-1E2D-8A780AEAE4DD}"/>
          </ac:spMkLst>
        </pc:spChg>
      </pc:sldChg>
      <pc:sldChg chg="modSp mod">
        <pc:chgData name="Divya Rank" userId="8a86f94f-bc51-45b1-baba-7f5d30607298" providerId="ADAL" clId="{78EEDE45-01AF-4D07-82E4-B16E0EF225E9}" dt="2025-06-10T09:22:40.703" v="467" actId="1036"/>
        <pc:sldMkLst>
          <pc:docMk/>
          <pc:sldMk cId="2865006180" sldId="1371"/>
        </pc:sldMkLst>
        <pc:spChg chg="mod">
          <ac:chgData name="Divya Rank" userId="8a86f94f-bc51-45b1-baba-7f5d30607298" providerId="ADAL" clId="{78EEDE45-01AF-4D07-82E4-B16E0EF225E9}" dt="2025-06-10T09:22:40.703" v="467" actId="1036"/>
          <ac:spMkLst>
            <pc:docMk/>
            <pc:sldMk cId="2865006180" sldId="1371"/>
            <ac:spMk id="2" creationId="{A253A976-796C-94AA-EA6C-BF2463930129}"/>
          </ac:spMkLst>
        </pc:spChg>
      </pc:sldChg>
      <pc:sldChg chg="modSp mod">
        <pc:chgData name="Divya Rank" userId="8a86f94f-bc51-45b1-baba-7f5d30607298" providerId="ADAL" clId="{78EEDE45-01AF-4D07-82E4-B16E0EF225E9}" dt="2025-06-10T09:22:48.549" v="483" actId="1036"/>
        <pc:sldMkLst>
          <pc:docMk/>
          <pc:sldMk cId="2954267522" sldId="1372"/>
        </pc:sldMkLst>
        <pc:spChg chg="mod">
          <ac:chgData name="Divya Rank" userId="8a86f94f-bc51-45b1-baba-7f5d30607298" providerId="ADAL" clId="{78EEDE45-01AF-4D07-82E4-B16E0EF225E9}" dt="2025-06-10T09:22:48.549" v="483" actId="1036"/>
          <ac:spMkLst>
            <pc:docMk/>
            <pc:sldMk cId="2954267522" sldId="1372"/>
            <ac:spMk id="2" creationId="{BF4C30ED-7105-75F6-C612-1DB6CB19C2CC}"/>
          </ac:spMkLst>
        </pc:spChg>
      </pc:sldChg>
      <pc:sldChg chg="modSp mod">
        <pc:chgData name="Divya Rank" userId="8a86f94f-bc51-45b1-baba-7f5d30607298" providerId="ADAL" clId="{78EEDE45-01AF-4D07-82E4-B16E0EF225E9}" dt="2025-06-10T09:22:52.665" v="491" actId="1036"/>
        <pc:sldMkLst>
          <pc:docMk/>
          <pc:sldMk cId="2044274387" sldId="1374"/>
        </pc:sldMkLst>
        <pc:spChg chg="mod">
          <ac:chgData name="Divya Rank" userId="8a86f94f-bc51-45b1-baba-7f5d30607298" providerId="ADAL" clId="{78EEDE45-01AF-4D07-82E4-B16E0EF225E9}" dt="2025-06-10T09:22:52.665" v="491" actId="1036"/>
          <ac:spMkLst>
            <pc:docMk/>
            <pc:sldMk cId="2044274387" sldId="1374"/>
            <ac:spMk id="2" creationId="{117A3D6A-A7F1-2067-4BA3-443F26F558F8}"/>
          </ac:spMkLst>
        </pc:spChg>
      </pc:sldChg>
      <pc:sldChg chg="modSp mod">
        <pc:chgData name="Divya Rank" userId="8a86f94f-bc51-45b1-baba-7f5d30607298" providerId="ADAL" clId="{78EEDE45-01AF-4D07-82E4-B16E0EF225E9}" dt="2025-06-10T09:23:58.308" v="552" actId="1036"/>
        <pc:sldMkLst>
          <pc:docMk/>
          <pc:sldMk cId="2578419182" sldId="1392"/>
        </pc:sldMkLst>
      </pc:sldChg>
      <pc:sldChg chg="modSp mod">
        <pc:chgData name="Divya Rank" userId="8a86f94f-bc51-45b1-baba-7f5d30607298" providerId="ADAL" clId="{78EEDE45-01AF-4D07-82E4-B16E0EF225E9}" dt="2025-06-10T09:23:55.874" v="551" actId="1036"/>
        <pc:sldMkLst>
          <pc:docMk/>
          <pc:sldMk cId="2056974111" sldId="1393"/>
        </pc:sldMkLst>
      </pc:sldChg>
      <pc:sldChg chg="modSp mod">
        <pc:chgData name="Divya Rank" userId="8a86f94f-bc51-45b1-baba-7f5d30607298" providerId="ADAL" clId="{78EEDE45-01AF-4D07-82E4-B16E0EF225E9}" dt="2025-06-10T09:40:20.990" v="691" actId="1035"/>
        <pc:sldMkLst>
          <pc:docMk/>
          <pc:sldMk cId="3897331874" sldId="1397"/>
        </pc:sldMkLst>
        <pc:spChg chg="mod">
          <ac:chgData name="Divya Rank" userId="8a86f94f-bc51-45b1-baba-7f5d30607298" providerId="ADAL" clId="{78EEDE45-01AF-4D07-82E4-B16E0EF225E9}" dt="2025-06-10T09:40:20.990" v="691" actId="1035"/>
          <ac:spMkLst>
            <pc:docMk/>
            <pc:sldMk cId="3897331874" sldId="1397"/>
            <ac:spMk id="2" creationId="{3B8B9189-3176-BDC2-3AE9-727DE99AA123}"/>
          </ac:spMkLst>
        </pc:spChg>
      </pc:sldChg>
      <pc:sldChg chg="modSp mod">
        <pc:chgData name="Divya Rank" userId="8a86f94f-bc51-45b1-baba-7f5d30607298" providerId="ADAL" clId="{78EEDE45-01AF-4D07-82E4-B16E0EF225E9}" dt="2025-06-10T09:24:05.303" v="555" actId="1036"/>
        <pc:sldMkLst>
          <pc:docMk/>
          <pc:sldMk cId="1126234879" sldId="1398"/>
        </pc:sldMkLst>
        <pc:spChg chg="mod">
          <ac:chgData name="Divya Rank" userId="8a86f94f-bc51-45b1-baba-7f5d30607298" providerId="ADAL" clId="{78EEDE45-01AF-4D07-82E4-B16E0EF225E9}" dt="2025-06-10T09:24:05.303" v="555" actId="1036"/>
          <ac:spMkLst>
            <pc:docMk/>
            <pc:sldMk cId="1126234879" sldId="1398"/>
            <ac:spMk id="2" creationId="{8B674E54-2643-B5E4-5462-E0DB9575B258}"/>
          </ac:spMkLst>
        </pc:spChg>
      </pc:sldChg>
      <pc:sldChg chg="modSp mod">
        <pc:chgData name="Divya Rank" userId="8a86f94f-bc51-45b1-baba-7f5d30607298" providerId="ADAL" clId="{78EEDE45-01AF-4D07-82E4-B16E0EF225E9}" dt="2025-06-10T09:24:07.928" v="556" actId="1036"/>
        <pc:sldMkLst>
          <pc:docMk/>
          <pc:sldMk cId="1609862685" sldId="1400"/>
        </pc:sldMkLst>
        <pc:spChg chg="mod">
          <ac:chgData name="Divya Rank" userId="8a86f94f-bc51-45b1-baba-7f5d30607298" providerId="ADAL" clId="{78EEDE45-01AF-4D07-82E4-B16E0EF225E9}" dt="2025-06-10T09:24:07.928" v="556" actId="1036"/>
          <ac:spMkLst>
            <pc:docMk/>
            <pc:sldMk cId="1609862685" sldId="1400"/>
            <ac:spMk id="2" creationId="{42272A1B-B6A1-BB1F-EFC6-4DE789298790}"/>
          </ac:spMkLst>
        </pc:spChg>
      </pc:sldChg>
      <pc:sldChg chg="modSp mod">
        <pc:chgData name="Divya Rank" userId="8a86f94f-bc51-45b1-baba-7f5d30607298" providerId="ADAL" clId="{78EEDE45-01AF-4D07-82E4-B16E0EF225E9}" dt="2025-06-10T09:40:30.237" v="694" actId="20577"/>
        <pc:sldMkLst>
          <pc:docMk/>
          <pc:sldMk cId="1514397412" sldId="1401"/>
        </pc:sldMkLst>
        <pc:spChg chg="mod">
          <ac:chgData name="Divya Rank" userId="8a86f94f-bc51-45b1-baba-7f5d30607298" providerId="ADAL" clId="{78EEDE45-01AF-4D07-82E4-B16E0EF225E9}" dt="2025-06-10T09:40:30.237" v="694" actId="20577"/>
          <ac:spMkLst>
            <pc:docMk/>
            <pc:sldMk cId="1514397412" sldId="1401"/>
            <ac:spMk id="2" creationId="{E826995E-5A4D-9E78-1E21-02FCB2C1754C}"/>
          </ac:spMkLst>
        </pc:spChg>
      </pc:sldChg>
      <pc:sldChg chg="modSp mod">
        <pc:chgData name="Divya Rank" userId="8a86f94f-bc51-45b1-baba-7f5d30607298" providerId="ADAL" clId="{78EEDE45-01AF-4D07-82E4-B16E0EF225E9}" dt="2025-06-10T09:40:42.538" v="697" actId="2711"/>
        <pc:sldMkLst>
          <pc:docMk/>
          <pc:sldMk cId="2910876098" sldId="1402"/>
        </pc:sldMkLst>
        <pc:spChg chg="mod">
          <ac:chgData name="Divya Rank" userId="8a86f94f-bc51-45b1-baba-7f5d30607298" providerId="ADAL" clId="{78EEDE45-01AF-4D07-82E4-B16E0EF225E9}" dt="2025-06-10T09:40:42.538" v="697" actId="2711"/>
          <ac:spMkLst>
            <pc:docMk/>
            <pc:sldMk cId="2910876098" sldId="1402"/>
            <ac:spMk id="2" creationId="{6CBC9E13-0E5A-F73F-C39B-CE8C65E97F1F}"/>
          </ac:spMkLst>
        </pc:spChg>
        <pc:spChg chg="mod">
          <ac:chgData name="Divya Rank" userId="8a86f94f-bc51-45b1-baba-7f5d30607298" providerId="ADAL" clId="{78EEDE45-01AF-4D07-82E4-B16E0EF225E9}" dt="2025-06-10T09:40:42.538" v="697" actId="2711"/>
          <ac:spMkLst>
            <pc:docMk/>
            <pc:sldMk cId="2910876098" sldId="1402"/>
            <ac:spMk id="4" creationId="{3DFA8A1F-983D-0A20-9D55-3CB9B45A512A}"/>
          </ac:spMkLst>
        </pc:spChg>
        <pc:spChg chg="mod">
          <ac:chgData name="Divya Rank" userId="8a86f94f-bc51-45b1-baba-7f5d30607298" providerId="ADAL" clId="{78EEDE45-01AF-4D07-82E4-B16E0EF225E9}" dt="2025-06-10T09:40:42.538" v="697" actId="2711"/>
          <ac:spMkLst>
            <pc:docMk/>
            <pc:sldMk cId="2910876098" sldId="1402"/>
            <ac:spMk id="26" creationId="{4BA73D4B-52CB-6D6E-B4B4-228065C1637D}"/>
          </ac:spMkLst>
        </pc:spChg>
        <pc:spChg chg="mod">
          <ac:chgData name="Divya Rank" userId="8a86f94f-bc51-45b1-baba-7f5d30607298" providerId="ADAL" clId="{78EEDE45-01AF-4D07-82E4-B16E0EF225E9}" dt="2025-06-10T09:40:42.538" v="697" actId="2711"/>
          <ac:spMkLst>
            <pc:docMk/>
            <pc:sldMk cId="2910876098" sldId="1402"/>
            <ac:spMk id="27" creationId="{0ED27D50-DC7A-FF9F-DFAF-DB282255223F}"/>
          </ac:spMkLst>
        </pc:spChg>
      </pc:sldChg>
      <pc:sldChg chg="modSp mod">
        <pc:chgData name="Divya Rank" userId="8a86f94f-bc51-45b1-baba-7f5d30607298" providerId="ADAL" clId="{78EEDE45-01AF-4D07-82E4-B16E0EF225E9}" dt="2025-06-10T09:39:59.270" v="690" actId="113"/>
        <pc:sldMkLst>
          <pc:docMk/>
          <pc:sldMk cId="1359705919" sldId="1404"/>
        </pc:sldMkLst>
        <pc:spChg chg="mod">
          <ac:chgData name="Divya Rank" userId="8a86f94f-bc51-45b1-baba-7f5d30607298" providerId="ADAL" clId="{78EEDE45-01AF-4D07-82E4-B16E0EF225E9}" dt="2025-06-10T09:39:59.270" v="690" actId="113"/>
          <ac:spMkLst>
            <pc:docMk/>
            <pc:sldMk cId="1359705919" sldId="1404"/>
            <ac:spMk id="2" creationId="{DB440015-968F-8907-C2C5-45283DCE0EDB}"/>
          </ac:spMkLst>
        </pc:spChg>
      </pc:sldChg>
      <pc:sldChg chg="modSp mod">
        <pc:chgData name="Divya Rank" userId="8a86f94f-bc51-45b1-baba-7f5d30607298" providerId="ADAL" clId="{78EEDE45-01AF-4D07-82E4-B16E0EF225E9}" dt="2025-06-10T09:41:00.931" v="699" actId="113"/>
        <pc:sldMkLst>
          <pc:docMk/>
          <pc:sldMk cId="1618323921" sldId="1405"/>
        </pc:sldMkLst>
        <pc:spChg chg="mod">
          <ac:chgData name="Divya Rank" userId="8a86f94f-bc51-45b1-baba-7f5d30607298" providerId="ADAL" clId="{78EEDE45-01AF-4D07-82E4-B16E0EF225E9}" dt="2025-06-10T09:41:00.931" v="699" actId="113"/>
          <ac:spMkLst>
            <pc:docMk/>
            <pc:sldMk cId="1618323921" sldId="1405"/>
            <ac:spMk id="2" creationId="{F24936F1-EC21-3F58-1A5D-707883051E55}"/>
          </ac:spMkLst>
        </pc:spChg>
        <pc:spChg chg="mod">
          <ac:chgData name="Divya Rank" userId="8a86f94f-bc51-45b1-baba-7f5d30607298" providerId="ADAL" clId="{78EEDE45-01AF-4D07-82E4-B16E0EF225E9}" dt="2025-06-10T09:40:55.446" v="698" actId="2711"/>
          <ac:spMkLst>
            <pc:docMk/>
            <pc:sldMk cId="1618323921" sldId="1405"/>
            <ac:spMk id="3" creationId="{5105E95D-8388-3F32-D28C-5392A884FEE9}"/>
          </ac:spMkLst>
        </pc:spChg>
        <pc:spChg chg="mod">
          <ac:chgData name="Divya Rank" userId="8a86f94f-bc51-45b1-baba-7f5d30607298" providerId="ADAL" clId="{78EEDE45-01AF-4D07-82E4-B16E0EF225E9}" dt="2025-06-10T09:40:55.446" v="698" actId="2711"/>
          <ac:spMkLst>
            <pc:docMk/>
            <pc:sldMk cId="1618323921" sldId="1405"/>
            <ac:spMk id="4" creationId="{F20F8102-BC1E-A66F-69DE-AC65BEE105FB}"/>
          </ac:spMkLst>
        </pc:spChg>
        <pc:spChg chg="mod">
          <ac:chgData name="Divya Rank" userId="8a86f94f-bc51-45b1-baba-7f5d30607298" providerId="ADAL" clId="{78EEDE45-01AF-4D07-82E4-B16E0EF225E9}" dt="2025-06-10T09:40:55.446" v="698" actId="2711"/>
          <ac:spMkLst>
            <pc:docMk/>
            <pc:sldMk cId="1618323921" sldId="1405"/>
            <ac:spMk id="26" creationId="{43608BD4-54A1-800F-5400-871C080B8C4B}"/>
          </ac:spMkLst>
        </pc:spChg>
        <pc:spChg chg="mod">
          <ac:chgData name="Divya Rank" userId="8a86f94f-bc51-45b1-baba-7f5d30607298" providerId="ADAL" clId="{78EEDE45-01AF-4D07-82E4-B16E0EF225E9}" dt="2025-06-10T09:40:55.446" v="698" actId="2711"/>
          <ac:spMkLst>
            <pc:docMk/>
            <pc:sldMk cId="1618323921" sldId="1405"/>
            <ac:spMk id="46" creationId="{F318A3A0-77E2-C509-3550-36B84968A26E}"/>
          </ac:spMkLst>
        </pc:spChg>
        <pc:spChg chg="mod">
          <ac:chgData name="Divya Rank" userId="8a86f94f-bc51-45b1-baba-7f5d30607298" providerId="ADAL" clId="{78EEDE45-01AF-4D07-82E4-B16E0EF225E9}" dt="2025-06-10T09:40:55.446" v="698" actId="2711"/>
          <ac:spMkLst>
            <pc:docMk/>
            <pc:sldMk cId="1618323921" sldId="1405"/>
            <ac:spMk id="47" creationId="{DFB45704-5A23-E521-55B2-1E7DABE0F67C}"/>
          </ac:spMkLst>
        </pc:spChg>
        <pc:spChg chg="mod">
          <ac:chgData name="Divya Rank" userId="8a86f94f-bc51-45b1-baba-7f5d30607298" providerId="ADAL" clId="{78EEDE45-01AF-4D07-82E4-B16E0EF225E9}" dt="2025-06-10T09:40:55.446" v="698" actId="2711"/>
          <ac:spMkLst>
            <pc:docMk/>
            <pc:sldMk cId="1618323921" sldId="1405"/>
            <ac:spMk id="53" creationId="{6494268B-02B7-2880-9188-399D0A99FF6E}"/>
          </ac:spMkLst>
        </pc:spChg>
        <pc:spChg chg="mod">
          <ac:chgData name="Divya Rank" userId="8a86f94f-bc51-45b1-baba-7f5d30607298" providerId="ADAL" clId="{78EEDE45-01AF-4D07-82E4-B16E0EF225E9}" dt="2025-06-10T09:40:55.446" v="698" actId="2711"/>
          <ac:spMkLst>
            <pc:docMk/>
            <pc:sldMk cId="1618323921" sldId="1405"/>
            <ac:spMk id="56" creationId="{59248990-0983-19BF-4BFC-D813678FE47A}"/>
          </ac:spMkLst>
        </pc:spChg>
      </pc:sldChg>
      <pc:sldChg chg="modSp mod">
        <pc:chgData name="Divya Rank" userId="8a86f94f-bc51-45b1-baba-7f5d30607298" providerId="ADAL" clId="{78EEDE45-01AF-4D07-82E4-B16E0EF225E9}" dt="2025-06-10T09:41:10.332" v="701" actId="113"/>
        <pc:sldMkLst>
          <pc:docMk/>
          <pc:sldMk cId="767093200" sldId="1406"/>
        </pc:sldMkLst>
        <pc:spChg chg="mod">
          <ac:chgData name="Divya Rank" userId="8a86f94f-bc51-45b1-baba-7f5d30607298" providerId="ADAL" clId="{78EEDE45-01AF-4D07-82E4-B16E0EF225E9}" dt="2025-06-10T09:41:10.332" v="701" actId="113"/>
          <ac:spMkLst>
            <pc:docMk/>
            <pc:sldMk cId="767093200" sldId="1406"/>
            <ac:spMk id="2" creationId="{DCC6F8AA-515A-0107-2587-3680FE510DA2}"/>
          </ac:spMkLst>
        </pc:spChg>
        <pc:spChg chg="mod">
          <ac:chgData name="Divya Rank" userId="8a86f94f-bc51-45b1-baba-7f5d30607298" providerId="ADAL" clId="{78EEDE45-01AF-4D07-82E4-B16E0EF225E9}" dt="2025-06-10T09:41:06.397" v="700" actId="2711"/>
          <ac:spMkLst>
            <pc:docMk/>
            <pc:sldMk cId="767093200" sldId="1406"/>
            <ac:spMk id="3" creationId="{76BFB7DC-8B74-47AD-0063-FC6A7F5FBF89}"/>
          </ac:spMkLst>
        </pc:spChg>
        <pc:spChg chg="mod">
          <ac:chgData name="Divya Rank" userId="8a86f94f-bc51-45b1-baba-7f5d30607298" providerId="ADAL" clId="{78EEDE45-01AF-4D07-82E4-B16E0EF225E9}" dt="2025-06-10T09:41:06.397" v="700" actId="2711"/>
          <ac:spMkLst>
            <pc:docMk/>
            <pc:sldMk cId="767093200" sldId="1406"/>
            <ac:spMk id="4" creationId="{AB5A6340-3E8C-7AB4-8E24-319C96FD9EBB}"/>
          </ac:spMkLst>
        </pc:spChg>
        <pc:spChg chg="mod">
          <ac:chgData name="Divya Rank" userId="8a86f94f-bc51-45b1-baba-7f5d30607298" providerId="ADAL" clId="{78EEDE45-01AF-4D07-82E4-B16E0EF225E9}" dt="2025-06-10T09:41:06.397" v="700" actId="2711"/>
          <ac:spMkLst>
            <pc:docMk/>
            <pc:sldMk cId="767093200" sldId="1406"/>
            <ac:spMk id="8" creationId="{DA9D6749-8980-B90D-0A9C-0B22CB2D0AFD}"/>
          </ac:spMkLst>
        </pc:spChg>
        <pc:spChg chg="mod">
          <ac:chgData name="Divya Rank" userId="8a86f94f-bc51-45b1-baba-7f5d30607298" providerId="ADAL" clId="{78EEDE45-01AF-4D07-82E4-B16E0EF225E9}" dt="2025-06-10T09:41:06.397" v="700" actId="2711"/>
          <ac:spMkLst>
            <pc:docMk/>
            <pc:sldMk cId="767093200" sldId="1406"/>
            <ac:spMk id="13" creationId="{54256C06-76AB-99DB-23C8-1673B56A1B13}"/>
          </ac:spMkLst>
        </pc:spChg>
        <pc:spChg chg="mod">
          <ac:chgData name="Divya Rank" userId="8a86f94f-bc51-45b1-baba-7f5d30607298" providerId="ADAL" clId="{78EEDE45-01AF-4D07-82E4-B16E0EF225E9}" dt="2025-06-10T09:41:06.397" v="700" actId="2711"/>
          <ac:spMkLst>
            <pc:docMk/>
            <pc:sldMk cId="767093200" sldId="1406"/>
            <ac:spMk id="14" creationId="{7CC4F909-B328-F1EB-2667-1CC0AD1A637A}"/>
          </ac:spMkLst>
        </pc:spChg>
        <pc:spChg chg="mod">
          <ac:chgData name="Divya Rank" userId="8a86f94f-bc51-45b1-baba-7f5d30607298" providerId="ADAL" clId="{78EEDE45-01AF-4D07-82E4-B16E0EF225E9}" dt="2025-06-10T09:41:06.397" v="700" actId="2711"/>
          <ac:spMkLst>
            <pc:docMk/>
            <pc:sldMk cId="767093200" sldId="1406"/>
            <ac:spMk id="16" creationId="{2B68722F-8ECC-B75F-9B8D-8C7702B6FECC}"/>
          </ac:spMkLst>
        </pc:spChg>
        <pc:spChg chg="mod">
          <ac:chgData name="Divya Rank" userId="8a86f94f-bc51-45b1-baba-7f5d30607298" providerId="ADAL" clId="{78EEDE45-01AF-4D07-82E4-B16E0EF225E9}" dt="2025-06-10T09:41:06.397" v="700" actId="2711"/>
          <ac:spMkLst>
            <pc:docMk/>
            <pc:sldMk cId="767093200" sldId="1406"/>
            <ac:spMk id="17" creationId="{2DCEBCD8-1526-3ED3-E82A-26AFB5B5D5D6}"/>
          </ac:spMkLst>
        </pc:spChg>
        <pc:spChg chg="mod">
          <ac:chgData name="Divya Rank" userId="8a86f94f-bc51-45b1-baba-7f5d30607298" providerId="ADAL" clId="{78EEDE45-01AF-4D07-82E4-B16E0EF225E9}" dt="2025-06-10T09:41:06.397" v="700" actId="2711"/>
          <ac:spMkLst>
            <pc:docMk/>
            <pc:sldMk cId="767093200" sldId="1406"/>
            <ac:spMk id="18" creationId="{BC482D51-05BA-44EA-648D-7CA7578882B7}"/>
          </ac:spMkLst>
        </pc:spChg>
        <pc:spChg chg="mod">
          <ac:chgData name="Divya Rank" userId="8a86f94f-bc51-45b1-baba-7f5d30607298" providerId="ADAL" clId="{78EEDE45-01AF-4D07-82E4-B16E0EF225E9}" dt="2025-06-10T09:41:06.397" v="700" actId="2711"/>
          <ac:spMkLst>
            <pc:docMk/>
            <pc:sldMk cId="767093200" sldId="1406"/>
            <ac:spMk id="21" creationId="{6E4BED46-8B22-8874-11A8-9097D4D68640}"/>
          </ac:spMkLst>
        </pc:spChg>
      </pc:sldChg>
      <pc:sldChg chg="modSp mod">
        <pc:chgData name="Divya Rank" userId="8a86f94f-bc51-45b1-baba-7f5d30607298" providerId="ADAL" clId="{78EEDE45-01AF-4D07-82E4-B16E0EF225E9}" dt="2025-06-10T09:43:59.394" v="715" actId="20577"/>
        <pc:sldMkLst>
          <pc:docMk/>
          <pc:sldMk cId="4031355153" sldId="1407"/>
        </pc:sldMkLst>
        <pc:spChg chg="mod">
          <ac:chgData name="Divya Rank" userId="8a86f94f-bc51-45b1-baba-7f5d30607298" providerId="ADAL" clId="{78EEDE45-01AF-4D07-82E4-B16E0EF225E9}" dt="2025-06-10T09:43:59.394" v="715" actId="20577"/>
          <ac:spMkLst>
            <pc:docMk/>
            <pc:sldMk cId="4031355153" sldId="1407"/>
            <ac:spMk id="2" creationId="{401E0793-1959-FBD3-0004-B39291841520}"/>
          </ac:spMkLst>
        </pc:spChg>
      </pc:sldChg>
      <pc:sldChg chg="modSp mod">
        <pc:chgData name="Divya Rank" userId="8a86f94f-bc51-45b1-baba-7f5d30607298" providerId="ADAL" clId="{78EEDE45-01AF-4D07-82E4-B16E0EF225E9}" dt="2025-06-10T09:41:19.749" v="703" actId="113"/>
        <pc:sldMkLst>
          <pc:docMk/>
          <pc:sldMk cId="1180124282" sldId="1409"/>
        </pc:sldMkLst>
        <pc:spChg chg="mod">
          <ac:chgData name="Divya Rank" userId="8a86f94f-bc51-45b1-baba-7f5d30607298" providerId="ADAL" clId="{78EEDE45-01AF-4D07-82E4-B16E0EF225E9}" dt="2025-06-10T09:41:19.749" v="703" actId="113"/>
          <ac:spMkLst>
            <pc:docMk/>
            <pc:sldMk cId="1180124282" sldId="1409"/>
            <ac:spMk id="2" creationId="{C6242FA0-BE29-FE65-E745-3629ADD2EB53}"/>
          </ac:spMkLst>
        </pc:spChg>
        <pc:spChg chg="mod">
          <ac:chgData name="Divya Rank" userId="8a86f94f-bc51-45b1-baba-7f5d30607298" providerId="ADAL" clId="{78EEDE45-01AF-4D07-82E4-B16E0EF225E9}" dt="2025-06-10T09:41:16.440" v="702" actId="2711"/>
          <ac:spMkLst>
            <pc:docMk/>
            <pc:sldMk cId="1180124282" sldId="1409"/>
            <ac:spMk id="24" creationId="{AF8F080C-A1D4-9432-DBFC-3372BCC72BA5}"/>
          </ac:spMkLst>
        </pc:spChg>
        <pc:spChg chg="mod">
          <ac:chgData name="Divya Rank" userId="8a86f94f-bc51-45b1-baba-7f5d30607298" providerId="ADAL" clId="{78EEDE45-01AF-4D07-82E4-B16E0EF225E9}" dt="2025-06-10T09:41:16.440" v="702" actId="2711"/>
          <ac:spMkLst>
            <pc:docMk/>
            <pc:sldMk cId="1180124282" sldId="1409"/>
            <ac:spMk id="27" creationId="{43234940-0A07-55EA-319F-4F0D94ACEB22}"/>
          </ac:spMkLst>
        </pc:spChg>
        <pc:spChg chg="mod">
          <ac:chgData name="Divya Rank" userId="8a86f94f-bc51-45b1-baba-7f5d30607298" providerId="ADAL" clId="{78EEDE45-01AF-4D07-82E4-B16E0EF225E9}" dt="2025-06-10T09:41:16.440" v="702" actId="2711"/>
          <ac:spMkLst>
            <pc:docMk/>
            <pc:sldMk cId="1180124282" sldId="1409"/>
            <ac:spMk id="33" creationId="{549ADA73-FC23-6D3A-67D0-A0066DE9A5FF}"/>
          </ac:spMkLst>
        </pc:spChg>
        <pc:spChg chg="mod">
          <ac:chgData name="Divya Rank" userId="8a86f94f-bc51-45b1-baba-7f5d30607298" providerId="ADAL" clId="{78EEDE45-01AF-4D07-82E4-B16E0EF225E9}" dt="2025-06-10T09:41:16.440" v="702" actId="2711"/>
          <ac:spMkLst>
            <pc:docMk/>
            <pc:sldMk cId="1180124282" sldId="1409"/>
            <ac:spMk id="35" creationId="{837655AB-43A6-89F4-3D3A-4A4FCA34D195}"/>
          </ac:spMkLst>
        </pc:spChg>
        <pc:spChg chg="mod">
          <ac:chgData name="Divya Rank" userId="8a86f94f-bc51-45b1-baba-7f5d30607298" providerId="ADAL" clId="{78EEDE45-01AF-4D07-82E4-B16E0EF225E9}" dt="2025-06-10T09:41:16.440" v="702" actId="2711"/>
          <ac:spMkLst>
            <pc:docMk/>
            <pc:sldMk cId="1180124282" sldId="1409"/>
            <ac:spMk id="45" creationId="{FE2512F8-A0D9-CE53-9E15-959FBA509D5D}"/>
          </ac:spMkLst>
        </pc:spChg>
        <pc:spChg chg="mod">
          <ac:chgData name="Divya Rank" userId="8a86f94f-bc51-45b1-baba-7f5d30607298" providerId="ADAL" clId="{78EEDE45-01AF-4D07-82E4-B16E0EF225E9}" dt="2025-06-10T09:41:16.440" v="702" actId="2711"/>
          <ac:spMkLst>
            <pc:docMk/>
            <pc:sldMk cId="1180124282" sldId="1409"/>
            <ac:spMk id="46" creationId="{FD5C4951-B050-4270-8214-A6BBF2C65BBB}"/>
          </ac:spMkLst>
        </pc:spChg>
        <pc:spChg chg="mod">
          <ac:chgData name="Divya Rank" userId="8a86f94f-bc51-45b1-baba-7f5d30607298" providerId="ADAL" clId="{78EEDE45-01AF-4D07-82E4-B16E0EF225E9}" dt="2025-06-10T09:41:16.440" v="702" actId="2711"/>
          <ac:spMkLst>
            <pc:docMk/>
            <pc:sldMk cId="1180124282" sldId="1409"/>
            <ac:spMk id="49" creationId="{EAE513EF-D7F8-36BA-6925-AA550BF971CE}"/>
          </ac:spMkLst>
        </pc:spChg>
        <pc:spChg chg="mod">
          <ac:chgData name="Divya Rank" userId="8a86f94f-bc51-45b1-baba-7f5d30607298" providerId="ADAL" clId="{78EEDE45-01AF-4D07-82E4-B16E0EF225E9}" dt="2025-06-10T09:41:16.440" v="702" actId="2711"/>
          <ac:spMkLst>
            <pc:docMk/>
            <pc:sldMk cId="1180124282" sldId="1409"/>
            <ac:spMk id="52" creationId="{D04E12F1-F80D-28E0-EE89-278D9FF7B47E}"/>
          </ac:spMkLst>
        </pc:spChg>
      </pc:sldChg>
      <pc:sldChg chg="modSp mod">
        <pc:chgData name="Divya Rank" userId="8a86f94f-bc51-45b1-baba-7f5d30607298" providerId="ADAL" clId="{78EEDE45-01AF-4D07-82E4-B16E0EF225E9}" dt="2025-06-10T09:41:32.942" v="707" actId="2711"/>
        <pc:sldMkLst>
          <pc:docMk/>
          <pc:sldMk cId="490945690" sldId="1410"/>
        </pc:sldMkLst>
        <pc:spChg chg="mod">
          <ac:chgData name="Divya Rank" userId="8a86f94f-bc51-45b1-baba-7f5d30607298" providerId="ADAL" clId="{78EEDE45-01AF-4D07-82E4-B16E0EF225E9}" dt="2025-06-10T09:41:32.942" v="707" actId="2711"/>
          <ac:spMkLst>
            <pc:docMk/>
            <pc:sldMk cId="490945690" sldId="1410"/>
            <ac:spMk id="2" creationId="{38FDE182-3ECC-EAD5-F690-E2277832A8EC}"/>
          </ac:spMkLst>
        </pc:spChg>
        <pc:spChg chg="mod">
          <ac:chgData name="Divya Rank" userId="8a86f94f-bc51-45b1-baba-7f5d30607298" providerId="ADAL" clId="{78EEDE45-01AF-4D07-82E4-B16E0EF225E9}" dt="2025-06-10T09:41:32.942" v="707" actId="2711"/>
          <ac:spMkLst>
            <pc:docMk/>
            <pc:sldMk cId="490945690" sldId="1410"/>
            <ac:spMk id="3" creationId="{EA42EEBA-9E0C-5226-7CDA-3C6F6F182097}"/>
          </ac:spMkLst>
        </pc:spChg>
        <pc:spChg chg="mod">
          <ac:chgData name="Divya Rank" userId="8a86f94f-bc51-45b1-baba-7f5d30607298" providerId="ADAL" clId="{78EEDE45-01AF-4D07-82E4-B16E0EF225E9}" dt="2025-06-10T09:41:32.942" v="707" actId="2711"/>
          <ac:spMkLst>
            <pc:docMk/>
            <pc:sldMk cId="490945690" sldId="1410"/>
            <ac:spMk id="6" creationId="{5C739721-E4C9-3188-0F8A-EAC37105FC20}"/>
          </ac:spMkLst>
        </pc:spChg>
        <pc:spChg chg="mod">
          <ac:chgData name="Divya Rank" userId="8a86f94f-bc51-45b1-baba-7f5d30607298" providerId="ADAL" clId="{78EEDE45-01AF-4D07-82E4-B16E0EF225E9}" dt="2025-06-10T09:41:32.942" v="707" actId="2711"/>
          <ac:spMkLst>
            <pc:docMk/>
            <pc:sldMk cId="490945690" sldId="1410"/>
            <ac:spMk id="19" creationId="{A550DBCD-1C3A-B3ED-9939-04428098ADA7}"/>
          </ac:spMkLst>
        </pc:spChg>
        <pc:spChg chg="mod">
          <ac:chgData name="Divya Rank" userId="8a86f94f-bc51-45b1-baba-7f5d30607298" providerId="ADAL" clId="{78EEDE45-01AF-4D07-82E4-B16E0EF225E9}" dt="2025-06-10T09:41:32.942" v="707" actId="2711"/>
          <ac:spMkLst>
            <pc:docMk/>
            <pc:sldMk cId="490945690" sldId="1410"/>
            <ac:spMk id="21" creationId="{4E81E792-8B47-604C-5204-A9E62424391B}"/>
          </ac:spMkLst>
        </pc:spChg>
        <pc:spChg chg="mod">
          <ac:chgData name="Divya Rank" userId="8a86f94f-bc51-45b1-baba-7f5d30607298" providerId="ADAL" clId="{78EEDE45-01AF-4D07-82E4-B16E0EF225E9}" dt="2025-06-10T09:41:32.942" v="707" actId="2711"/>
          <ac:spMkLst>
            <pc:docMk/>
            <pc:sldMk cId="490945690" sldId="1410"/>
            <ac:spMk id="41" creationId="{5B48D91E-8C47-1F85-AD9C-ECD38544C50C}"/>
          </ac:spMkLst>
        </pc:spChg>
        <pc:spChg chg="mod">
          <ac:chgData name="Divya Rank" userId="8a86f94f-bc51-45b1-baba-7f5d30607298" providerId="ADAL" clId="{78EEDE45-01AF-4D07-82E4-B16E0EF225E9}" dt="2025-06-10T09:41:32.942" v="707" actId="2711"/>
          <ac:spMkLst>
            <pc:docMk/>
            <pc:sldMk cId="490945690" sldId="1410"/>
            <ac:spMk id="47" creationId="{0B9D9D2D-C0FF-645C-4344-15E1234DBC75}"/>
          </ac:spMkLst>
        </pc:spChg>
        <pc:spChg chg="mod">
          <ac:chgData name="Divya Rank" userId="8a86f94f-bc51-45b1-baba-7f5d30607298" providerId="ADAL" clId="{78EEDE45-01AF-4D07-82E4-B16E0EF225E9}" dt="2025-06-10T09:41:32.942" v="707" actId="2711"/>
          <ac:spMkLst>
            <pc:docMk/>
            <pc:sldMk cId="490945690" sldId="1410"/>
            <ac:spMk id="52" creationId="{5353B06D-E460-8120-D9D4-D33B4D9BE639}"/>
          </ac:spMkLst>
        </pc:spChg>
        <pc:spChg chg="mod">
          <ac:chgData name="Divya Rank" userId="8a86f94f-bc51-45b1-baba-7f5d30607298" providerId="ADAL" clId="{78EEDE45-01AF-4D07-82E4-B16E0EF225E9}" dt="2025-06-10T09:41:32.942" v="707" actId="2711"/>
          <ac:spMkLst>
            <pc:docMk/>
            <pc:sldMk cId="490945690" sldId="1410"/>
            <ac:spMk id="56" creationId="{306EBDBA-2FB5-39C5-A3E9-B3DAB479580B}"/>
          </ac:spMkLst>
        </pc:spChg>
        <pc:spChg chg="mod">
          <ac:chgData name="Divya Rank" userId="8a86f94f-bc51-45b1-baba-7f5d30607298" providerId="ADAL" clId="{78EEDE45-01AF-4D07-82E4-B16E0EF225E9}" dt="2025-06-10T09:41:32.942" v="707" actId="2711"/>
          <ac:spMkLst>
            <pc:docMk/>
            <pc:sldMk cId="490945690" sldId="1410"/>
            <ac:spMk id="58" creationId="{45EAEBA9-DFFE-AA91-8E83-B840B93D6DD2}"/>
          </ac:spMkLst>
        </pc:spChg>
      </pc:sldChg>
      <pc:sldChg chg="modSp mod">
        <pc:chgData name="Divya Rank" userId="8a86f94f-bc51-45b1-baba-7f5d30607298" providerId="ADAL" clId="{78EEDE45-01AF-4D07-82E4-B16E0EF225E9}" dt="2025-06-10T09:38:47.670" v="684" actId="113"/>
        <pc:sldMkLst>
          <pc:docMk/>
          <pc:sldMk cId="2193362245" sldId="1416"/>
        </pc:sldMkLst>
        <pc:spChg chg="mod">
          <ac:chgData name="Divya Rank" userId="8a86f94f-bc51-45b1-baba-7f5d30607298" providerId="ADAL" clId="{78EEDE45-01AF-4D07-82E4-B16E0EF225E9}" dt="2025-06-10T09:38:47.670" v="684" actId="113"/>
          <ac:spMkLst>
            <pc:docMk/>
            <pc:sldMk cId="2193362245" sldId="1416"/>
            <ac:spMk id="2" creationId="{88041176-FB15-E118-2D3E-8E9C27728BF1}"/>
          </ac:spMkLst>
        </pc:spChg>
        <pc:spChg chg="mod">
          <ac:chgData name="Divya Rank" userId="8a86f94f-bc51-45b1-baba-7f5d30607298" providerId="ADAL" clId="{78EEDE45-01AF-4D07-82E4-B16E0EF225E9}" dt="2025-06-10T09:38:40.090" v="683" actId="2711"/>
          <ac:spMkLst>
            <pc:docMk/>
            <pc:sldMk cId="2193362245" sldId="1416"/>
            <ac:spMk id="3" creationId="{CCEBAD04-D06F-B711-F177-EBA083953F7B}"/>
          </ac:spMkLst>
        </pc:spChg>
        <pc:spChg chg="mod">
          <ac:chgData name="Divya Rank" userId="8a86f94f-bc51-45b1-baba-7f5d30607298" providerId="ADAL" clId="{78EEDE45-01AF-4D07-82E4-B16E0EF225E9}" dt="2025-06-10T09:38:40.090" v="683" actId="2711"/>
          <ac:spMkLst>
            <pc:docMk/>
            <pc:sldMk cId="2193362245" sldId="1416"/>
            <ac:spMk id="4" creationId="{591F94A8-B937-FBD7-BF02-E751971A67D7}"/>
          </ac:spMkLst>
        </pc:spChg>
        <pc:spChg chg="mod">
          <ac:chgData name="Divya Rank" userId="8a86f94f-bc51-45b1-baba-7f5d30607298" providerId="ADAL" clId="{78EEDE45-01AF-4D07-82E4-B16E0EF225E9}" dt="2025-06-10T09:38:40.090" v="683" actId="2711"/>
          <ac:spMkLst>
            <pc:docMk/>
            <pc:sldMk cId="2193362245" sldId="1416"/>
            <ac:spMk id="25" creationId="{BE307DF5-CED8-5D4C-AD30-81FDC8691E78}"/>
          </ac:spMkLst>
        </pc:spChg>
        <pc:spChg chg="mod">
          <ac:chgData name="Divya Rank" userId="8a86f94f-bc51-45b1-baba-7f5d30607298" providerId="ADAL" clId="{78EEDE45-01AF-4D07-82E4-B16E0EF225E9}" dt="2025-06-10T09:38:40.090" v="683" actId="2711"/>
          <ac:spMkLst>
            <pc:docMk/>
            <pc:sldMk cId="2193362245" sldId="1416"/>
            <ac:spMk id="35" creationId="{AB425CEC-6640-F382-A1EA-7EACCAF76427}"/>
          </ac:spMkLst>
        </pc:spChg>
        <pc:spChg chg="mod">
          <ac:chgData name="Divya Rank" userId="8a86f94f-bc51-45b1-baba-7f5d30607298" providerId="ADAL" clId="{78EEDE45-01AF-4D07-82E4-B16E0EF225E9}" dt="2025-06-10T09:38:40.090" v="683" actId="2711"/>
          <ac:spMkLst>
            <pc:docMk/>
            <pc:sldMk cId="2193362245" sldId="1416"/>
            <ac:spMk id="36" creationId="{21AEE95E-495A-AD6D-9331-C39CC45D1773}"/>
          </ac:spMkLst>
        </pc:spChg>
        <pc:spChg chg="mod">
          <ac:chgData name="Divya Rank" userId="8a86f94f-bc51-45b1-baba-7f5d30607298" providerId="ADAL" clId="{78EEDE45-01AF-4D07-82E4-B16E0EF225E9}" dt="2025-06-10T09:38:40.090" v="683" actId="2711"/>
          <ac:spMkLst>
            <pc:docMk/>
            <pc:sldMk cId="2193362245" sldId="1416"/>
            <ac:spMk id="47" creationId="{D2449EF2-6221-D40B-988C-27AFA8A4F1DF}"/>
          </ac:spMkLst>
        </pc:spChg>
      </pc:sldChg>
      <pc:sldChg chg="delSp modSp mod">
        <pc:chgData name="Divya Rank" userId="8a86f94f-bc51-45b1-baba-7f5d30607298" providerId="ADAL" clId="{78EEDE45-01AF-4D07-82E4-B16E0EF225E9}" dt="2025-06-10T09:06:28.120" v="133" actId="14100"/>
        <pc:sldMkLst>
          <pc:docMk/>
          <pc:sldMk cId="2472576754" sldId="1418"/>
        </pc:sldMkLst>
        <pc:spChg chg="mod">
          <ac:chgData name="Divya Rank" userId="8a86f94f-bc51-45b1-baba-7f5d30607298" providerId="ADAL" clId="{78EEDE45-01AF-4D07-82E4-B16E0EF225E9}" dt="2025-06-10T09:06:28.120" v="133" actId="14100"/>
          <ac:spMkLst>
            <pc:docMk/>
            <pc:sldMk cId="2472576754" sldId="1418"/>
            <ac:spMk id="8" creationId="{C6DEE54B-1DD1-2232-FAD5-C2AF2D7EF248}"/>
          </ac:spMkLst>
        </pc:spChg>
      </pc:sldChg>
      <pc:sldChg chg="modSp mod">
        <pc:chgData name="Divya Rank" userId="8a86f94f-bc51-45b1-baba-7f5d30607298" providerId="ADAL" clId="{78EEDE45-01AF-4D07-82E4-B16E0EF225E9}" dt="2025-06-10T09:39:04.785" v="688" actId="113"/>
        <pc:sldMkLst>
          <pc:docMk/>
          <pc:sldMk cId="699312704" sldId="1419"/>
        </pc:sldMkLst>
        <pc:spChg chg="mod">
          <ac:chgData name="Divya Rank" userId="8a86f94f-bc51-45b1-baba-7f5d30607298" providerId="ADAL" clId="{78EEDE45-01AF-4D07-82E4-B16E0EF225E9}" dt="2025-06-10T09:39:04.785" v="688" actId="113"/>
          <ac:spMkLst>
            <pc:docMk/>
            <pc:sldMk cId="699312704" sldId="1419"/>
            <ac:spMk id="2" creationId="{39EE241D-DB58-747F-5187-FBC5665E4CB0}"/>
          </ac:spMkLst>
        </pc:spChg>
        <pc:spChg chg="mod">
          <ac:chgData name="Divya Rank" userId="8a86f94f-bc51-45b1-baba-7f5d30607298" providerId="ADAL" clId="{78EEDE45-01AF-4D07-82E4-B16E0EF225E9}" dt="2025-06-10T09:39:00.649" v="687" actId="2711"/>
          <ac:spMkLst>
            <pc:docMk/>
            <pc:sldMk cId="699312704" sldId="1419"/>
            <ac:spMk id="25" creationId="{7F1530B5-E76E-CBA8-BE69-A97ECD21C5CC}"/>
          </ac:spMkLst>
        </pc:spChg>
        <pc:spChg chg="mod">
          <ac:chgData name="Divya Rank" userId="8a86f94f-bc51-45b1-baba-7f5d30607298" providerId="ADAL" clId="{78EEDE45-01AF-4D07-82E4-B16E0EF225E9}" dt="2025-06-10T09:39:00.649" v="687" actId="2711"/>
          <ac:spMkLst>
            <pc:docMk/>
            <pc:sldMk cId="699312704" sldId="1419"/>
            <ac:spMk id="27" creationId="{CF4B63DF-D8C7-8181-A714-78F6C5467125}"/>
          </ac:spMkLst>
        </pc:spChg>
        <pc:spChg chg="mod">
          <ac:chgData name="Divya Rank" userId="8a86f94f-bc51-45b1-baba-7f5d30607298" providerId="ADAL" clId="{78EEDE45-01AF-4D07-82E4-B16E0EF225E9}" dt="2025-06-10T09:39:00.649" v="687" actId="2711"/>
          <ac:spMkLst>
            <pc:docMk/>
            <pc:sldMk cId="699312704" sldId="1419"/>
            <ac:spMk id="28" creationId="{73748634-7603-C2ED-661A-0CF4B16B95A0}"/>
          </ac:spMkLst>
        </pc:spChg>
        <pc:spChg chg="mod">
          <ac:chgData name="Divya Rank" userId="8a86f94f-bc51-45b1-baba-7f5d30607298" providerId="ADAL" clId="{78EEDE45-01AF-4D07-82E4-B16E0EF225E9}" dt="2025-06-10T09:39:00.649" v="687" actId="2711"/>
          <ac:spMkLst>
            <pc:docMk/>
            <pc:sldMk cId="699312704" sldId="1419"/>
            <ac:spMk id="35" creationId="{6C3363A7-52E4-59A7-1424-9F6A9F3F5EC7}"/>
          </ac:spMkLst>
        </pc:spChg>
        <pc:spChg chg="mod">
          <ac:chgData name="Divya Rank" userId="8a86f94f-bc51-45b1-baba-7f5d30607298" providerId="ADAL" clId="{78EEDE45-01AF-4D07-82E4-B16E0EF225E9}" dt="2025-06-10T09:39:00.649" v="687" actId="2711"/>
          <ac:spMkLst>
            <pc:docMk/>
            <pc:sldMk cId="699312704" sldId="1419"/>
            <ac:spMk id="36" creationId="{9BB28966-A567-62CA-5201-83098AD194CF}"/>
          </ac:spMkLst>
        </pc:spChg>
        <pc:spChg chg="mod">
          <ac:chgData name="Divya Rank" userId="8a86f94f-bc51-45b1-baba-7f5d30607298" providerId="ADAL" clId="{78EEDE45-01AF-4D07-82E4-B16E0EF225E9}" dt="2025-06-10T09:39:00.649" v="687" actId="2711"/>
          <ac:spMkLst>
            <pc:docMk/>
            <pc:sldMk cId="699312704" sldId="1419"/>
            <ac:spMk id="37" creationId="{E7C307A8-60A0-1DD9-169A-17E2AB46BCC6}"/>
          </ac:spMkLst>
        </pc:spChg>
        <pc:spChg chg="mod">
          <ac:chgData name="Divya Rank" userId="8a86f94f-bc51-45b1-baba-7f5d30607298" providerId="ADAL" clId="{78EEDE45-01AF-4D07-82E4-B16E0EF225E9}" dt="2025-06-10T09:39:00.649" v="687" actId="2711"/>
          <ac:spMkLst>
            <pc:docMk/>
            <pc:sldMk cId="699312704" sldId="1419"/>
            <ac:spMk id="43" creationId="{CD5C2435-53B9-90DC-9B3F-75C543B40FFD}"/>
          </ac:spMkLst>
        </pc:spChg>
        <pc:spChg chg="mod">
          <ac:chgData name="Divya Rank" userId="8a86f94f-bc51-45b1-baba-7f5d30607298" providerId="ADAL" clId="{78EEDE45-01AF-4D07-82E4-B16E0EF225E9}" dt="2025-06-10T09:39:00.649" v="687" actId="2711"/>
          <ac:spMkLst>
            <pc:docMk/>
            <pc:sldMk cId="699312704" sldId="1419"/>
            <ac:spMk id="46" creationId="{AFA36709-E750-3817-2927-E3E3EA11512F}"/>
          </ac:spMkLst>
        </pc:spChg>
        <pc:spChg chg="mod">
          <ac:chgData name="Divya Rank" userId="8a86f94f-bc51-45b1-baba-7f5d30607298" providerId="ADAL" clId="{78EEDE45-01AF-4D07-82E4-B16E0EF225E9}" dt="2025-06-10T09:39:00.649" v="687" actId="2711"/>
          <ac:spMkLst>
            <pc:docMk/>
            <pc:sldMk cId="699312704" sldId="1419"/>
            <ac:spMk id="50" creationId="{7964FE19-44F2-5DD8-25F7-482E7B540547}"/>
          </ac:spMkLst>
        </pc:spChg>
      </pc:sldChg>
      <pc:sldChg chg="modSp mod">
        <pc:chgData name="Divya Rank" userId="8a86f94f-bc51-45b1-baba-7f5d30607298" providerId="ADAL" clId="{78EEDE45-01AF-4D07-82E4-B16E0EF225E9}" dt="2025-06-10T09:38:32.817" v="682" actId="113"/>
        <pc:sldMkLst>
          <pc:docMk/>
          <pc:sldMk cId="2534325615" sldId="1420"/>
        </pc:sldMkLst>
      </pc:sldChg>
      <pc:sldChg chg="modSp mod">
        <pc:chgData name="Divya Rank" userId="8a86f94f-bc51-45b1-baba-7f5d30607298" providerId="ADAL" clId="{78EEDE45-01AF-4D07-82E4-B16E0EF225E9}" dt="2025-06-10T09:38:21.542" v="680" actId="113"/>
        <pc:sldMkLst>
          <pc:docMk/>
          <pc:sldMk cId="401956825" sldId="1422"/>
        </pc:sldMkLst>
        <pc:spChg chg="mod">
          <ac:chgData name="Divya Rank" userId="8a86f94f-bc51-45b1-baba-7f5d30607298" providerId="ADAL" clId="{78EEDE45-01AF-4D07-82E4-B16E0EF225E9}" dt="2025-06-10T09:38:21.542" v="680" actId="113"/>
          <ac:spMkLst>
            <pc:docMk/>
            <pc:sldMk cId="401956825" sldId="1422"/>
            <ac:spMk id="2" creationId="{29BBE8E1-DF57-9CBA-4E86-8CDD2E6EFC37}"/>
          </ac:spMkLst>
        </pc:spChg>
        <pc:spChg chg="mod">
          <ac:chgData name="Divya Rank" userId="8a86f94f-bc51-45b1-baba-7f5d30607298" providerId="ADAL" clId="{78EEDE45-01AF-4D07-82E4-B16E0EF225E9}" dt="2025-06-10T09:38:17.733" v="679" actId="2711"/>
          <ac:spMkLst>
            <pc:docMk/>
            <pc:sldMk cId="401956825" sldId="1422"/>
            <ac:spMk id="19" creationId="{92E59E4A-8507-2C7E-58BC-304204024DAB}"/>
          </ac:spMkLst>
        </pc:spChg>
        <pc:spChg chg="mod">
          <ac:chgData name="Divya Rank" userId="8a86f94f-bc51-45b1-baba-7f5d30607298" providerId="ADAL" clId="{78EEDE45-01AF-4D07-82E4-B16E0EF225E9}" dt="2025-06-10T09:38:17.733" v="679" actId="2711"/>
          <ac:spMkLst>
            <pc:docMk/>
            <pc:sldMk cId="401956825" sldId="1422"/>
            <ac:spMk id="22" creationId="{B0D213F6-0B6C-19EE-9438-911884694BFC}"/>
          </ac:spMkLst>
        </pc:spChg>
        <pc:spChg chg="mod">
          <ac:chgData name="Divya Rank" userId="8a86f94f-bc51-45b1-baba-7f5d30607298" providerId="ADAL" clId="{78EEDE45-01AF-4D07-82E4-B16E0EF225E9}" dt="2025-06-10T09:38:17.733" v="679" actId="2711"/>
          <ac:spMkLst>
            <pc:docMk/>
            <pc:sldMk cId="401956825" sldId="1422"/>
            <ac:spMk id="27" creationId="{7D9B2889-41DE-7131-1691-2B22FD8905D4}"/>
          </ac:spMkLst>
        </pc:spChg>
        <pc:spChg chg="mod">
          <ac:chgData name="Divya Rank" userId="8a86f94f-bc51-45b1-baba-7f5d30607298" providerId="ADAL" clId="{78EEDE45-01AF-4D07-82E4-B16E0EF225E9}" dt="2025-06-10T09:38:17.733" v="679" actId="2711"/>
          <ac:spMkLst>
            <pc:docMk/>
            <pc:sldMk cId="401956825" sldId="1422"/>
            <ac:spMk id="31" creationId="{B32A9AAA-83A9-ABEA-4919-058893407629}"/>
          </ac:spMkLst>
        </pc:spChg>
        <pc:spChg chg="mod">
          <ac:chgData name="Divya Rank" userId="8a86f94f-bc51-45b1-baba-7f5d30607298" providerId="ADAL" clId="{78EEDE45-01AF-4D07-82E4-B16E0EF225E9}" dt="2025-06-10T09:38:17.733" v="679" actId="2711"/>
          <ac:spMkLst>
            <pc:docMk/>
            <pc:sldMk cId="401956825" sldId="1422"/>
            <ac:spMk id="37" creationId="{8320E62B-1E64-1F5B-7761-3FFF528F76B6}"/>
          </ac:spMkLst>
        </pc:spChg>
        <pc:spChg chg="mod">
          <ac:chgData name="Divya Rank" userId="8a86f94f-bc51-45b1-baba-7f5d30607298" providerId="ADAL" clId="{78EEDE45-01AF-4D07-82E4-B16E0EF225E9}" dt="2025-06-10T09:38:17.733" v="679" actId="2711"/>
          <ac:spMkLst>
            <pc:docMk/>
            <pc:sldMk cId="401956825" sldId="1422"/>
            <ac:spMk id="39" creationId="{2299ECDE-7770-A218-65B5-D2679E6A6919}"/>
          </ac:spMkLst>
        </pc:spChg>
        <pc:spChg chg="mod">
          <ac:chgData name="Divya Rank" userId="8a86f94f-bc51-45b1-baba-7f5d30607298" providerId="ADAL" clId="{78EEDE45-01AF-4D07-82E4-B16E0EF225E9}" dt="2025-06-10T09:38:17.733" v="679" actId="2711"/>
          <ac:spMkLst>
            <pc:docMk/>
            <pc:sldMk cId="401956825" sldId="1422"/>
            <ac:spMk id="40" creationId="{69FE80FE-F210-017C-0CFF-8E4FA5250951}"/>
          </ac:spMkLst>
        </pc:spChg>
        <pc:spChg chg="mod">
          <ac:chgData name="Divya Rank" userId="8a86f94f-bc51-45b1-baba-7f5d30607298" providerId="ADAL" clId="{78EEDE45-01AF-4D07-82E4-B16E0EF225E9}" dt="2025-06-10T09:38:17.733" v="679" actId="2711"/>
          <ac:spMkLst>
            <pc:docMk/>
            <pc:sldMk cId="401956825" sldId="1422"/>
            <ac:spMk id="42" creationId="{B261F45C-A4F8-88EA-89DE-BB7105899F61}"/>
          </ac:spMkLst>
        </pc:spChg>
        <pc:spChg chg="mod">
          <ac:chgData name="Divya Rank" userId="8a86f94f-bc51-45b1-baba-7f5d30607298" providerId="ADAL" clId="{78EEDE45-01AF-4D07-82E4-B16E0EF225E9}" dt="2025-06-10T09:38:17.733" v="679" actId="2711"/>
          <ac:spMkLst>
            <pc:docMk/>
            <pc:sldMk cId="401956825" sldId="1422"/>
            <ac:spMk id="47" creationId="{C77E25A9-86D6-EC80-DDE6-36B9ABA21DBC}"/>
          </ac:spMkLst>
        </pc:spChg>
      </pc:sldChg>
      <pc:sldChg chg="modSp mod">
        <pc:chgData name="Divya Rank" userId="8a86f94f-bc51-45b1-baba-7f5d30607298" providerId="ADAL" clId="{78EEDE45-01AF-4D07-82E4-B16E0EF225E9}" dt="2025-06-10T09:55:36.651" v="794" actId="255"/>
        <pc:sldMkLst>
          <pc:docMk/>
          <pc:sldMk cId="421499063" sldId="1423"/>
        </pc:sldMkLst>
      </pc:sldChg>
      <pc:sldChg chg="modSp mod">
        <pc:chgData name="Divya Rank" userId="8a86f94f-bc51-45b1-baba-7f5d30607298" providerId="ADAL" clId="{78EEDE45-01AF-4D07-82E4-B16E0EF225E9}" dt="2025-06-10T09:55:24.369" v="793" actId="255"/>
        <pc:sldMkLst>
          <pc:docMk/>
          <pc:sldMk cId="1630084977" sldId="1424"/>
        </pc:sldMkLst>
        <pc:spChg chg="mod">
          <ac:chgData name="Divya Rank" userId="8a86f94f-bc51-45b1-baba-7f5d30607298" providerId="ADAL" clId="{78EEDE45-01AF-4D07-82E4-B16E0EF225E9}" dt="2025-06-10T09:37:57.497" v="676" actId="113"/>
          <ac:spMkLst>
            <pc:docMk/>
            <pc:sldMk cId="1630084977" sldId="1424"/>
            <ac:spMk id="2" creationId="{D571FD96-727F-B6AF-7DDB-6D3A160D95DC}"/>
          </ac:spMkLst>
        </pc:spChg>
        <pc:spChg chg="mod">
          <ac:chgData name="Divya Rank" userId="8a86f94f-bc51-45b1-baba-7f5d30607298" providerId="ADAL" clId="{78EEDE45-01AF-4D07-82E4-B16E0EF225E9}" dt="2025-06-10T09:37:53.260" v="675" actId="2711"/>
          <ac:spMkLst>
            <pc:docMk/>
            <pc:sldMk cId="1630084977" sldId="1424"/>
            <ac:spMk id="3" creationId="{7D8EB15A-3072-903B-CE55-79DECC12F75E}"/>
          </ac:spMkLst>
        </pc:spChg>
        <pc:spChg chg="mod">
          <ac:chgData name="Divya Rank" userId="8a86f94f-bc51-45b1-baba-7f5d30607298" providerId="ADAL" clId="{78EEDE45-01AF-4D07-82E4-B16E0EF225E9}" dt="2025-06-10T09:55:24.369" v="793" actId="255"/>
          <ac:spMkLst>
            <pc:docMk/>
            <pc:sldMk cId="1630084977" sldId="1424"/>
            <ac:spMk id="19" creationId="{35A7C046-3643-4D7E-EF3C-D9D208645769}"/>
          </ac:spMkLst>
        </pc:spChg>
        <pc:spChg chg="mod">
          <ac:chgData name="Divya Rank" userId="8a86f94f-bc51-45b1-baba-7f5d30607298" providerId="ADAL" clId="{78EEDE45-01AF-4D07-82E4-B16E0EF225E9}" dt="2025-06-10T09:55:24.369" v="793" actId="255"/>
          <ac:spMkLst>
            <pc:docMk/>
            <pc:sldMk cId="1630084977" sldId="1424"/>
            <ac:spMk id="20" creationId="{5A388D71-B830-C05E-9E7E-B85D85F36E99}"/>
          </ac:spMkLst>
        </pc:spChg>
        <pc:spChg chg="mod">
          <ac:chgData name="Divya Rank" userId="8a86f94f-bc51-45b1-baba-7f5d30607298" providerId="ADAL" clId="{78EEDE45-01AF-4D07-82E4-B16E0EF225E9}" dt="2025-06-10T09:44:25.627" v="725" actId="1035"/>
          <ac:spMkLst>
            <pc:docMk/>
            <pc:sldMk cId="1630084977" sldId="1424"/>
            <ac:spMk id="24" creationId="{662EABDA-3EEB-4FD6-01EE-AC692F9E757C}"/>
          </ac:spMkLst>
        </pc:spChg>
        <pc:spChg chg="mod">
          <ac:chgData name="Divya Rank" userId="8a86f94f-bc51-45b1-baba-7f5d30607298" providerId="ADAL" clId="{78EEDE45-01AF-4D07-82E4-B16E0EF225E9}" dt="2025-06-10T09:55:24.369" v="793" actId="255"/>
          <ac:spMkLst>
            <pc:docMk/>
            <pc:sldMk cId="1630084977" sldId="1424"/>
            <ac:spMk id="26" creationId="{E7C58F8F-2891-6E79-F984-418AB18DF3CF}"/>
          </ac:spMkLst>
        </pc:spChg>
        <pc:spChg chg="mod">
          <ac:chgData name="Divya Rank" userId="8a86f94f-bc51-45b1-baba-7f5d30607298" providerId="ADAL" clId="{78EEDE45-01AF-4D07-82E4-B16E0EF225E9}" dt="2025-06-10T09:44:25.627" v="725" actId="1035"/>
          <ac:spMkLst>
            <pc:docMk/>
            <pc:sldMk cId="1630084977" sldId="1424"/>
            <ac:spMk id="28" creationId="{BDFEF227-DF2F-5CD3-3CD2-E30C1DE5022E}"/>
          </ac:spMkLst>
        </pc:spChg>
        <pc:spChg chg="mod">
          <ac:chgData name="Divya Rank" userId="8a86f94f-bc51-45b1-baba-7f5d30607298" providerId="ADAL" clId="{78EEDE45-01AF-4D07-82E4-B16E0EF225E9}" dt="2025-06-10T09:37:53.260" v="675" actId="2711"/>
          <ac:spMkLst>
            <pc:docMk/>
            <pc:sldMk cId="1630084977" sldId="1424"/>
            <ac:spMk id="47" creationId="{0780066C-E786-36F2-78B0-69E33CEF5B20}"/>
          </ac:spMkLst>
        </pc:spChg>
        <pc:spChg chg="mod">
          <ac:chgData name="Divya Rank" userId="8a86f94f-bc51-45b1-baba-7f5d30607298" providerId="ADAL" clId="{78EEDE45-01AF-4D07-82E4-B16E0EF225E9}" dt="2025-06-10T09:37:53.260" v="675" actId="2711"/>
          <ac:spMkLst>
            <pc:docMk/>
            <pc:sldMk cId="1630084977" sldId="1424"/>
            <ac:spMk id="51" creationId="{C53788F2-0040-B70A-DF23-F8372B55EC73}"/>
          </ac:spMkLst>
        </pc:spChg>
      </pc:sldChg>
      <pc:sldChg chg="modSp mod">
        <pc:chgData name="Divya Rank" userId="8a86f94f-bc51-45b1-baba-7f5d30607298" providerId="ADAL" clId="{78EEDE45-01AF-4D07-82E4-B16E0EF225E9}" dt="2025-06-10T09:54:58.406" v="792" actId="255"/>
        <pc:sldMkLst>
          <pc:docMk/>
          <pc:sldMk cId="149391360" sldId="1425"/>
        </pc:sldMkLst>
      </pc:sldChg>
      <pc:sldChg chg="modSp mod">
        <pc:chgData name="Divya Rank" userId="8a86f94f-bc51-45b1-baba-7f5d30607298" providerId="ADAL" clId="{78EEDE45-01AF-4D07-82E4-B16E0EF225E9}" dt="2025-06-10T09:53:21.629" v="779" actId="255"/>
        <pc:sldMkLst>
          <pc:docMk/>
          <pc:sldMk cId="2230945605" sldId="1427"/>
        </pc:sldMkLst>
      </pc:sldChg>
      <pc:sldChg chg="modSp mod">
        <pc:chgData name="Divya Rank" userId="8a86f94f-bc51-45b1-baba-7f5d30607298" providerId="ADAL" clId="{78EEDE45-01AF-4D07-82E4-B16E0EF225E9}" dt="2025-06-10T09:53:38.496" v="780" actId="255"/>
        <pc:sldMkLst>
          <pc:docMk/>
          <pc:sldMk cId="1185609157" sldId="1428"/>
        </pc:sldMkLst>
      </pc:sldChg>
      <pc:sldChg chg="modSp mod">
        <pc:chgData name="Divya Rank" userId="8a86f94f-bc51-45b1-baba-7f5d30607298" providerId="ADAL" clId="{78EEDE45-01AF-4D07-82E4-B16E0EF225E9}" dt="2025-06-10T09:53:50.105" v="781" actId="403"/>
        <pc:sldMkLst>
          <pc:docMk/>
          <pc:sldMk cId="295625867" sldId="1429"/>
        </pc:sldMkLst>
      </pc:sldChg>
      <pc:sldChg chg="modSp mod">
        <pc:chgData name="Divya Rank" userId="8a86f94f-bc51-45b1-baba-7f5d30607298" providerId="ADAL" clId="{78EEDE45-01AF-4D07-82E4-B16E0EF225E9}" dt="2025-06-10T09:53:52.544" v="782" actId="403"/>
        <pc:sldMkLst>
          <pc:docMk/>
          <pc:sldMk cId="296054934" sldId="1431"/>
        </pc:sldMkLst>
      </pc:sldChg>
      <pc:sldChg chg="modSp mod">
        <pc:chgData name="Divya Rank" userId="8a86f94f-bc51-45b1-baba-7f5d30607298" providerId="ADAL" clId="{78EEDE45-01AF-4D07-82E4-B16E0EF225E9}" dt="2025-06-10T09:53:54.631" v="783" actId="403"/>
        <pc:sldMkLst>
          <pc:docMk/>
          <pc:sldMk cId="1115682485" sldId="1432"/>
        </pc:sldMkLst>
      </pc:sldChg>
      <pc:sldChg chg="modSp mod">
        <pc:chgData name="Divya Rank" userId="8a86f94f-bc51-45b1-baba-7f5d30607298" providerId="ADAL" clId="{78EEDE45-01AF-4D07-82E4-B16E0EF225E9}" dt="2025-06-10T09:53:57.258" v="784" actId="403"/>
        <pc:sldMkLst>
          <pc:docMk/>
          <pc:sldMk cId="1521786324" sldId="1434"/>
        </pc:sldMkLst>
      </pc:sldChg>
      <pc:sldChg chg="modSp mod">
        <pc:chgData name="Divya Rank" userId="8a86f94f-bc51-45b1-baba-7f5d30607298" providerId="ADAL" clId="{78EEDE45-01AF-4D07-82E4-B16E0EF225E9}" dt="2025-06-10T09:54:05.775" v="787" actId="404"/>
        <pc:sldMkLst>
          <pc:docMk/>
          <pc:sldMk cId="702474907" sldId="1435"/>
        </pc:sldMkLst>
      </pc:sldChg>
      <pc:sldChg chg="modSp mod">
        <pc:chgData name="Divya Rank" userId="8a86f94f-bc51-45b1-baba-7f5d30607298" providerId="ADAL" clId="{78EEDE45-01AF-4D07-82E4-B16E0EF225E9}" dt="2025-06-10T09:54:09.024" v="788" actId="403"/>
        <pc:sldMkLst>
          <pc:docMk/>
          <pc:sldMk cId="3136698276" sldId="1436"/>
        </pc:sldMkLst>
      </pc:sldChg>
      <pc:sldChg chg="modSp mod">
        <pc:chgData name="Divya Rank" userId="8a86f94f-bc51-45b1-baba-7f5d30607298" providerId="ADAL" clId="{78EEDE45-01AF-4D07-82E4-B16E0EF225E9}" dt="2025-06-10T09:54:12.729" v="789" actId="403"/>
        <pc:sldMkLst>
          <pc:docMk/>
          <pc:sldMk cId="150165841" sldId="1438"/>
        </pc:sldMkLst>
      </pc:sldChg>
      <pc:sldChg chg="modSp mod">
        <pc:chgData name="Divya Rank" userId="8a86f94f-bc51-45b1-baba-7f5d30607298" providerId="ADAL" clId="{78EEDE45-01AF-4D07-82E4-B16E0EF225E9}" dt="2025-06-10T09:54:16.188" v="790" actId="403"/>
        <pc:sldMkLst>
          <pc:docMk/>
          <pc:sldMk cId="2013412701" sldId="1439"/>
        </pc:sldMkLst>
      </pc:sldChg>
      <pc:sldChg chg="modSp mod">
        <pc:chgData name="Divya Rank" userId="8a86f94f-bc51-45b1-baba-7f5d30607298" providerId="ADAL" clId="{78EEDE45-01AF-4D07-82E4-B16E0EF225E9}" dt="2025-06-10T09:54:19.738" v="791" actId="403"/>
        <pc:sldMkLst>
          <pc:docMk/>
          <pc:sldMk cId="799131380" sldId="1440"/>
        </pc:sldMkLst>
      </pc:sldChg>
      <pc:sldChg chg="modSp mod">
        <pc:chgData name="Divya Rank" userId="8a86f94f-bc51-45b1-baba-7f5d30607298" providerId="ADAL" clId="{78EEDE45-01AF-4D07-82E4-B16E0EF225E9}" dt="2025-06-10T09:49:59.484" v="762" actId="1035"/>
        <pc:sldMkLst>
          <pc:docMk/>
          <pc:sldMk cId="3195594924" sldId="1441"/>
        </pc:sldMkLst>
        <pc:spChg chg="mod">
          <ac:chgData name="Divya Rank" userId="8a86f94f-bc51-45b1-baba-7f5d30607298" providerId="ADAL" clId="{78EEDE45-01AF-4D07-82E4-B16E0EF225E9}" dt="2025-06-10T09:34:45.698" v="648" actId="2711"/>
          <ac:spMkLst>
            <pc:docMk/>
            <pc:sldMk cId="3195594924" sldId="1441"/>
            <ac:spMk id="2" creationId="{70B93DFC-093C-CA62-DD31-5B210CE92978}"/>
          </ac:spMkLst>
        </pc:spChg>
        <pc:spChg chg="mod">
          <ac:chgData name="Divya Rank" userId="8a86f94f-bc51-45b1-baba-7f5d30607298" providerId="ADAL" clId="{78EEDE45-01AF-4D07-82E4-B16E0EF225E9}" dt="2025-06-10T09:34:45.698" v="648" actId="2711"/>
          <ac:spMkLst>
            <pc:docMk/>
            <pc:sldMk cId="3195594924" sldId="1441"/>
            <ac:spMk id="24" creationId="{F42C1FE6-A55E-B073-9469-649AB7B07ECC}"/>
          </ac:spMkLst>
        </pc:spChg>
        <pc:spChg chg="mod">
          <ac:chgData name="Divya Rank" userId="8a86f94f-bc51-45b1-baba-7f5d30607298" providerId="ADAL" clId="{78EEDE45-01AF-4D07-82E4-B16E0EF225E9}" dt="2025-06-10T09:49:59.484" v="762" actId="1035"/>
          <ac:spMkLst>
            <pc:docMk/>
            <pc:sldMk cId="3195594924" sldId="1441"/>
            <ac:spMk id="25" creationId="{8F714C8C-3F1B-0F58-4BBA-1F8250E944EE}"/>
          </ac:spMkLst>
        </pc:spChg>
        <pc:spChg chg="mod">
          <ac:chgData name="Divya Rank" userId="8a86f94f-bc51-45b1-baba-7f5d30607298" providerId="ADAL" clId="{78EEDE45-01AF-4D07-82E4-B16E0EF225E9}" dt="2025-06-10T09:49:51.682" v="758" actId="255"/>
          <ac:spMkLst>
            <pc:docMk/>
            <pc:sldMk cId="3195594924" sldId="1441"/>
            <ac:spMk id="27" creationId="{FCE62F82-5DA8-A844-9C91-996202485D3F}"/>
          </ac:spMkLst>
        </pc:spChg>
        <pc:spChg chg="mod">
          <ac:chgData name="Divya Rank" userId="8a86f94f-bc51-45b1-baba-7f5d30607298" providerId="ADAL" clId="{78EEDE45-01AF-4D07-82E4-B16E0EF225E9}" dt="2025-06-10T09:49:51.682" v="758" actId="255"/>
          <ac:spMkLst>
            <pc:docMk/>
            <pc:sldMk cId="3195594924" sldId="1441"/>
            <ac:spMk id="30" creationId="{50F1D046-6F56-1FBA-D137-8EA212EE9313}"/>
          </ac:spMkLst>
        </pc:spChg>
        <pc:spChg chg="mod">
          <ac:chgData name="Divya Rank" userId="8a86f94f-bc51-45b1-baba-7f5d30607298" providerId="ADAL" clId="{78EEDE45-01AF-4D07-82E4-B16E0EF225E9}" dt="2025-06-10T09:34:45.698" v="648" actId="2711"/>
          <ac:spMkLst>
            <pc:docMk/>
            <pc:sldMk cId="3195594924" sldId="1441"/>
            <ac:spMk id="32" creationId="{405EBA84-B8CA-B273-8FB8-F63029C98B11}"/>
          </ac:spMkLst>
        </pc:spChg>
        <pc:spChg chg="mod">
          <ac:chgData name="Divya Rank" userId="8a86f94f-bc51-45b1-baba-7f5d30607298" providerId="ADAL" clId="{78EEDE45-01AF-4D07-82E4-B16E0EF225E9}" dt="2025-06-10T09:49:51.682" v="758" actId="255"/>
          <ac:spMkLst>
            <pc:docMk/>
            <pc:sldMk cId="3195594924" sldId="1441"/>
            <ac:spMk id="33" creationId="{98AE8A8B-83B8-1D2D-FD82-0251C6DC1608}"/>
          </ac:spMkLst>
        </pc:spChg>
        <pc:spChg chg="mod">
          <ac:chgData name="Divya Rank" userId="8a86f94f-bc51-45b1-baba-7f5d30607298" providerId="ADAL" clId="{78EEDE45-01AF-4D07-82E4-B16E0EF225E9}" dt="2025-06-10T09:49:51.682" v="758" actId="255"/>
          <ac:spMkLst>
            <pc:docMk/>
            <pc:sldMk cId="3195594924" sldId="1441"/>
            <ac:spMk id="36" creationId="{F76E1B75-A166-B58A-053B-0D5DED0C9A2D}"/>
          </ac:spMkLst>
        </pc:spChg>
      </pc:sldChg>
      <pc:sldChg chg="addSp modSp mod">
        <pc:chgData name="Divya Rank" userId="8a86f94f-bc51-45b1-baba-7f5d30607298" providerId="ADAL" clId="{78EEDE45-01AF-4D07-82E4-B16E0EF225E9}" dt="2025-06-10T09:49:29.363" v="757" actId="255"/>
        <pc:sldMkLst>
          <pc:docMk/>
          <pc:sldMk cId="2635961108" sldId="1443"/>
        </pc:sldMkLst>
        <pc:spChg chg="mod">
          <ac:chgData name="Divya Rank" userId="8a86f94f-bc51-45b1-baba-7f5d30607298" providerId="ADAL" clId="{78EEDE45-01AF-4D07-82E4-B16E0EF225E9}" dt="2025-06-10T09:34:37.676" v="646" actId="113"/>
          <ac:spMkLst>
            <pc:docMk/>
            <pc:sldMk cId="2635961108" sldId="1443"/>
            <ac:spMk id="2" creationId="{CF802232-3C26-F3B6-B4C7-C8159E0A1CF5}"/>
          </ac:spMkLst>
        </pc:spChg>
        <pc:spChg chg="mod">
          <ac:chgData name="Divya Rank" userId="8a86f94f-bc51-45b1-baba-7f5d30607298" providerId="ADAL" clId="{78EEDE45-01AF-4D07-82E4-B16E0EF225E9}" dt="2025-06-10T09:34:34.116" v="645" actId="2711"/>
          <ac:spMkLst>
            <pc:docMk/>
            <pc:sldMk cId="2635961108" sldId="1443"/>
            <ac:spMk id="7" creationId="{26259896-5B94-A7E7-040B-F381C3C7B3DB}"/>
          </ac:spMkLst>
        </pc:spChg>
        <pc:spChg chg="mod">
          <ac:chgData name="Divya Rank" userId="8a86f94f-bc51-45b1-baba-7f5d30607298" providerId="ADAL" clId="{78EEDE45-01AF-4D07-82E4-B16E0EF225E9}" dt="2025-06-10T09:34:34.116" v="645" actId="2711"/>
          <ac:spMkLst>
            <pc:docMk/>
            <pc:sldMk cId="2635961108" sldId="1443"/>
            <ac:spMk id="47" creationId="{8C12CE9D-54ED-2FF4-C8EC-CA5355C58AF3}"/>
          </ac:spMkLst>
        </pc:spChg>
      </pc:sldChg>
      <pc:sldChg chg="modSp mod">
        <pc:chgData name="Divya Rank" userId="8a86f94f-bc51-45b1-baba-7f5d30607298" providerId="ADAL" clId="{78EEDE45-01AF-4D07-82E4-B16E0EF225E9}" dt="2025-06-10T09:48:55.692" v="753" actId="403"/>
        <pc:sldMkLst>
          <pc:docMk/>
          <pc:sldMk cId="3213822245" sldId="1444"/>
        </pc:sldMkLst>
      </pc:sldChg>
      <pc:sldChg chg="modSp mod">
        <pc:chgData name="Divya Rank" userId="8a86f94f-bc51-45b1-baba-7f5d30607298" providerId="ADAL" clId="{78EEDE45-01AF-4D07-82E4-B16E0EF225E9}" dt="2025-06-10T09:33:13.244" v="637" actId="403"/>
        <pc:sldMkLst>
          <pc:docMk/>
          <pc:sldMk cId="3791180366" sldId="1445"/>
        </pc:sldMkLst>
      </pc:sldChg>
      <pc:sldChg chg="delSp modSp mod">
        <pc:chgData name="Divya Rank" userId="8a86f94f-bc51-45b1-baba-7f5d30607298" providerId="ADAL" clId="{78EEDE45-01AF-4D07-82E4-B16E0EF225E9}" dt="2025-06-10T10:00:19.626" v="798" actId="207"/>
        <pc:sldMkLst>
          <pc:docMk/>
          <pc:sldMk cId="3126065644" sldId="1446"/>
        </pc:sldMkLst>
        <pc:spChg chg="mod">
          <ac:chgData name="Divya Rank" userId="8a86f94f-bc51-45b1-baba-7f5d30607298" providerId="ADAL" clId="{78EEDE45-01AF-4D07-82E4-B16E0EF225E9}" dt="2025-06-10T09:32:35.043" v="632" actId="2711"/>
          <ac:spMkLst>
            <pc:docMk/>
            <pc:sldMk cId="3126065644" sldId="1446"/>
            <ac:spMk id="6" creationId="{CBD5AF68-DD36-6D77-9AB6-89DD7BEB1396}"/>
          </ac:spMkLst>
        </pc:spChg>
        <pc:spChg chg="mod">
          <ac:chgData name="Divya Rank" userId="8a86f94f-bc51-45b1-baba-7f5d30607298" providerId="ADAL" clId="{78EEDE45-01AF-4D07-82E4-B16E0EF225E9}" dt="2025-06-10T09:32:35.043" v="632" actId="2711"/>
          <ac:spMkLst>
            <pc:docMk/>
            <pc:sldMk cId="3126065644" sldId="1446"/>
            <ac:spMk id="7" creationId="{FD8659FB-170D-3349-44B1-A20F4B5DFE1D}"/>
          </ac:spMkLst>
        </pc:spChg>
        <pc:spChg chg="mod">
          <ac:chgData name="Divya Rank" userId="8a86f94f-bc51-45b1-baba-7f5d30607298" providerId="ADAL" clId="{78EEDE45-01AF-4D07-82E4-B16E0EF225E9}" dt="2025-06-10T10:00:19.626" v="798" actId="207"/>
          <ac:spMkLst>
            <pc:docMk/>
            <pc:sldMk cId="3126065644" sldId="1446"/>
            <ac:spMk id="8" creationId="{1D1CC8B5-FBBB-DC4A-1798-ADB60BF132FA}"/>
          </ac:spMkLst>
        </pc:spChg>
        <pc:spChg chg="mod">
          <ac:chgData name="Divya Rank" userId="8a86f94f-bc51-45b1-baba-7f5d30607298" providerId="ADAL" clId="{78EEDE45-01AF-4D07-82E4-B16E0EF225E9}" dt="2025-06-10T10:00:13.030" v="797" actId="207"/>
          <ac:spMkLst>
            <pc:docMk/>
            <pc:sldMk cId="3126065644" sldId="1446"/>
            <ac:spMk id="9" creationId="{5D7636D4-B8F6-542D-5BCD-0DAD0004D828}"/>
          </ac:spMkLst>
        </pc:spChg>
        <pc:spChg chg="mod">
          <ac:chgData name="Divya Rank" userId="8a86f94f-bc51-45b1-baba-7f5d30607298" providerId="ADAL" clId="{78EEDE45-01AF-4D07-82E4-B16E0EF225E9}" dt="2025-06-10T09:32:35.043" v="632" actId="2711"/>
          <ac:spMkLst>
            <pc:docMk/>
            <pc:sldMk cId="3126065644" sldId="1446"/>
            <ac:spMk id="11" creationId="{27E513BD-0C65-17FA-530E-4DB73F9B9F7D}"/>
          </ac:spMkLst>
        </pc:spChg>
      </pc:sldChg>
      <pc:sldChg chg="modSp mod">
        <pc:chgData name="Divya Rank" userId="8a86f94f-bc51-45b1-baba-7f5d30607298" providerId="ADAL" clId="{78EEDE45-01AF-4D07-82E4-B16E0EF225E9}" dt="2025-06-10T09:32:24.905" v="631" actId="113"/>
        <pc:sldMkLst>
          <pc:docMk/>
          <pc:sldMk cId="616849497" sldId="1449"/>
        </pc:sldMkLst>
      </pc:sldChg>
      <pc:sldChg chg="modSp del mod">
        <pc:chgData name="Divya Rank" userId="8a86f94f-bc51-45b1-baba-7f5d30607298" providerId="ADAL" clId="{78EEDE45-01AF-4D07-82E4-B16E0EF225E9}" dt="2025-06-10T10:16:33.755" v="869" actId="47"/>
        <pc:sldMkLst>
          <pc:docMk/>
          <pc:sldMk cId="734762824" sldId="1450"/>
        </pc:sldMkLst>
      </pc:sldChg>
      <pc:sldChg chg="addSp delSp modSp del mod setBg">
        <pc:chgData name="Divya Rank" userId="8a86f94f-bc51-45b1-baba-7f5d30607298" providerId="ADAL" clId="{78EEDE45-01AF-4D07-82E4-B16E0EF225E9}" dt="2025-06-10T10:09:34.518" v="845" actId="47"/>
        <pc:sldMkLst>
          <pc:docMk/>
          <pc:sldMk cId="4036006436" sldId="1451"/>
        </pc:sldMkLst>
      </pc:sldChg>
      <pc:sldChg chg="modSp mod">
        <pc:chgData name="Divya Rank" userId="8a86f94f-bc51-45b1-baba-7f5d30607298" providerId="ADAL" clId="{78EEDE45-01AF-4D07-82E4-B16E0EF225E9}" dt="2025-06-10T09:30:25.128" v="612" actId="1036"/>
        <pc:sldMkLst>
          <pc:docMk/>
          <pc:sldMk cId="1641759748" sldId="1454"/>
        </pc:sldMkLst>
        <pc:spChg chg="mod">
          <ac:chgData name="Divya Rank" userId="8a86f94f-bc51-45b1-baba-7f5d30607298" providerId="ADAL" clId="{78EEDE45-01AF-4D07-82E4-B16E0EF225E9}" dt="2025-06-10T09:30:25.128" v="612" actId="1036"/>
          <ac:spMkLst>
            <pc:docMk/>
            <pc:sldMk cId="1641759748" sldId="1454"/>
            <ac:spMk id="2" creationId="{37247BFB-F9FD-1842-2CE8-6000347C8FB0}"/>
          </ac:spMkLst>
        </pc:spChg>
      </pc:sldChg>
      <pc:sldChg chg="modSp mod">
        <pc:chgData name="Divya Rank" userId="8a86f94f-bc51-45b1-baba-7f5d30607298" providerId="ADAL" clId="{78EEDE45-01AF-4D07-82E4-B16E0EF225E9}" dt="2025-06-10T09:17:43.597" v="321" actId="1036"/>
        <pc:sldMkLst>
          <pc:docMk/>
          <pc:sldMk cId="866224783" sldId="1457"/>
        </pc:sldMkLst>
        <pc:spChg chg="mod">
          <ac:chgData name="Divya Rank" userId="8a86f94f-bc51-45b1-baba-7f5d30607298" providerId="ADAL" clId="{78EEDE45-01AF-4D07-82E4-B16E0EF225E9}" dt="2025-06-10T09:17:43.597" v="321" actId="1036"/>
          <ac:spMkLst>
            <pc:docMk/>
            <pc:sldMk cId="866224783" sldId="1457"/>
            <ac:spMk id="2" creationId="{4F45B121-5F12-4B3B-9F5D-7B68DA153387}"/>
          </ac:spMkLst>
        </pc:spChg>
      </pc:sldChg>
      <pc:sldChg chg="addSp delSp modSp mod modTransition delAnim modAnim">
        <pc:chgData name="Divya Rank" userId="8a86f94f-bc51-45b1-baba-7f5d30607298" providerId="ADAL" clId="{78EEDE45-01AF-4D07-82E4-B16E0EF225E9}" dt="2025-06-10T09:17:31.505" v="309" actId="1035"/>
        <pc:sldMkLst>
          <pc:docMk/>
          <pc:sldMk cId="2310470516" sldId="1458"/>
        </pc:sldMkLst>
        <pc:spChg chg="mod">
          <ac:chgData name="Divya Rank" userId="8a86f94f-bc51-45b1-baba-7f5d30607298" providerId="ADAL" clId="{78EEDE45-01AF-4D07-82E4-B16E0EF225E9}" dt="2025-06-10T09:17:31.505" v="309" actId="1035"/>
          <ac:spMkLst>
            <pc:docMk/>
            <pc:sldMk cId="2310470516" sldId="1458"/>
            <ac:spMk id="2" creationId="{4EEFEE2B-6CD0-FC5B-8A95-533F3D0DA2C0}"/>
          </ac:spMkLst>
        </pc:spChg>
        <pc:spChg chg="mod">
          <ac:chgData name="Divya Rank" userId="8a86f94f-bc51-45b1-baba-7f5d30607298" providerId="ADAL" clId="{78EEDE45-01AF-4D07-82E4-B16E0EF225E9}" dt="2025-06-10T09:02:13.923" v="64" actId="20577"/>
          <ac:spMkLst>
            <pc:docMk/>
            <pc:sldMk cId="2310470516" sldId="1458"/>
            <ac:spMk id="3" creationId="{D373AEE1-ABFD-083E-5574-AE0FE5F1975A}"/>
          </ac:spMkLst>
        </pc:spChg>
      </pc:sldChg>
      <pc:sldChg chg="modSp mod modAnim">
        <pc:chgData name="Divya Rank" userId="8a86f94f-bc51-45b1-baba-7f5d30607298" providerId="ADAL" clId="{78EEDE45-01AF-4D07-82E4-B16E0EF225E9}" dt="2025-06-10T09:17:35.064" v="311" actId="1035"/>
        <pc:sldMkLst>
          <pc:docMk/>
          <pc:sldMk cId="295806820" sldId="1460"/>
        </pc:sldMkLst>
        <pc:spChg chg="mod">
          <ac:chgData name="Divya Rank" userId="8a86f94f-bc51-45b1-baba-7f5d30607298" providerId="ADAL" clId="{78EEDE45-01AF-4D07-82E4-B16E0EF225E9}" dt="2025-06-10T09:17:35.064" v="311" actId="1035"/>
          <ac:spMkLst>
            <pc:docMk/>
            <pc:sldMk cId="295806820" sldId="1460"/>
            <ac:spMk id="2" creationId="{B58E7C55-F761-E7F1-DECE-23A0A0DC2D33}"/>
          </ac:spMkLst>
        </pc:spChg>
      </pc:sldChg>
      <pc:sldChg chg="addSp delSp modSp mod modAnim">
        <pc:chgData name="Divya Rank" userId="8a86f94f-bc51-45b1-baba-7f5d30607298" providerId="ADAL" clId="{78EEDE45-01AF-4D07-82E4-B16E0EF225E9}" dt="2025-06-10T09:06:44.359" v="134" actId="1035"/>
        <pc:sldMkLst>
          <pc:docMk/>
          <pc:sldMk cId="3763779622" sldId="1462"/>
        </pc:sldMkLst>
        <pc:spChg chg="mod">
          <ac:chgData name="Divya Rank" userId="8a86f94f-bc51-45b1-baba-7f5d30607298" providerId="ADAL" clId="{78EEDE45-01AF-4D07-82E4-B16E0EF225E9}" dt="2025-06-10T09:04:29.766" v="109" actId="20577"/>
          <ac:spMkLst>
            <pc:docMk/>
            <pc:sldMk cId="3763779622" sldId="1462"/>
            <ac:spMk id="3" creationId="{C642FDC0-57DC-57ED-EAB3-66F98917AA1A}"/>
          </ac:spMkLst>
        </pc:spChg>
        <pc:spChg chg="add mod">
          <ac:chgData name="Divya Rank" userId="8a86f94f-bc51-45b1-baba-7f5d30607298" providerId="ADAL" clId="{78EEDE45-01AF-4D07-82E4-B16E0EF225E9}" dt="2025-06-10T09:06:44.359" v="134" actId="1035"/>
          <ac:spMkLst>
            <pc:docMk/>
            <pc:sldMk cId="3763779622" sldId="1462"/>
            <ac:spMk id="5" creationId="{E213CDB6-D449-1828-2111-50CA18AC30DC}"/>
          </ac:spMkLst>
        </pc:spChg>
      </pc:sldChg>
      <pc:sldChg chg="addSp delSp modSp mod modAnim">
        <pc:chgData name="Divya Rank" userId="8a86f94f-bc51-45b1-baba-7f5d30607298" providerId="ADAL" clId="{78EEDE45-01AF-4D07-82E4-B16E0EF225E9}" dt="2025-06-10T09:24:52.003" v="569" actId="1036"/>
        <pc:sldMkLst>
          <pc:docMk/>
          <pc:sldMk cId="1622360155" sldId="1463"/>
        </pc:sldMkLst>
        <pc:spChg chg="mod">
          <ac:chgData name="Divya Rank" userId="8a86f94f-bc51-45b1-baba-7f5d30607298" providerId="ADAL" clId="{78EEDE45-01AF-4D07-82E4-B16E0EF225E9}" dt="2025-06-10T09:04:38.902" v="112" actId="20577"/>
          <ac:spMkLst>
            <pc:docMk/>
            <pc:sldMk cId="1622360155" sldId="1463"/>
            <ac:spMk id="3" creationId="{16A1B900-00C6-8423-4764-0E54A7F61A59}"/>
          </ac:spMkLst>
        </pc:spChg>
        <pc:spChg chg="add mod">
          <ac:chgData name="Divya Rank" userId="8a86f94f-bc51-45b1-baba-7f5d30607298" providerId="ADAL" clId="{78EEDE45-01AF-4D07-82E4-B16E0EF225E9}" dt="2025-06-10T09:24:52.003" v="569" actId="1036"/>
          <ac:spMkLst>
            <pc:docMk/>
            <pc:sldMk cId="1622360155" sldId="1463"/>
            <ac:spMk id="9" creationId="{647AC83B-003B-1E00-F439-24D4ED2B7D79}"/>
          </ac:spMkLst>
        </pc:spChg>
      </pc:sldChg>
      <pc:sldChg chg="modSp mod modAnim">
        <pc:chgData name="Divya Rank" userId="8a86f94f-bc51-45b1-baba-7f5d30607298" providerId="ADAL" clId="{78EEDE45-01AF-4D07-82E4-B16E0EF225E9}" dt="2025-06-10T09:34:13.995" v="642" actId="113"/>
        <pc:sldMkLst>
          <pc:docMk/>
          <pc:sldMk cId="2334717616" sldId="1470"/>
        </pc:sldMkLst>
        <pc:spChg chg="mod">
          <ac:chgData name="Divya Rank" userId="8a86f94f-bc51-45b1-baba-7f5d30607298" providerId="ADAL" clId="{78EEDE45-01AF-4D07-82E4-B16E0EF225E9}" dt="2025-06-10T09:34:13.995" v="642" actId="113"/>
          <ac:spMkLst>
            <pc:docMk/>
            <pc:sldMk cId="2334717616" sldId="1470"/>
            <ac:spMk id="2" creationId="{2201CD5E-C16A-749E-A288-638FF9BA7C12}"/>
          </ac:spMkLst>
        </pc:spChg>
        <pc:spChg chg="mod">
          <ac:chgData name="Divya Rank" userId="8a86f94f-bc51-45b1-baba-7f5d30607298" providerId="ADAL" clId="{78EEDE45-01AF-4D07-82E4-B16E0EF225E9}" dt="2025-06-10T09:34:11.333" v="641" actId="2711"/>
          <ac:spMkLst>
            <pc:docMk/>
            <pc:sldMk cId="2334717616" sldId="1470"/>
            <ac:spMk id="3" creationId="{F73DB6F3-DA58-7A70-85F4-ED3197A8252C}"/>
          </ac:spMkLst>
        </pc:spChg>
        <pc:spChg chg="mod">
          <ac:chgData name="Divya Rank" userId="8a86f94f-bc51-45b1-baba-7f5d30607298" providerId="ADAL" clId="{78EEDE45-01AF-4D07-82E4-B16E0EF225E9}" dt="2025-06-10T09:34:11.333" v="641" actId="2711"/>
          <ac:spMkLst>
            <pc:docMk/>
            <pc:sldMk cId="2334717616" sldId="1470"/>
            <ac:spMk id="6" creationId="{03155870-408D-DAC7-4FD2-FCE3D48EE48B}"/>
          </ac:spMkLst>
        </pc:spChg>
        <pc:spChg chg="mod">
          <ac:chgData name="Divya Rank" userId="8a86f94f-bc51-45b1-baba-7f5d30607298" providerId="ADAL" clId="{78EEDE45-01AF-4D07-82E4-B16E0EF225E9}" dt="2025-06-10T09:34:11.333" v="641" actId="2711"/>
          <ac:spMkLst>
            <pc:docMk/>
            <pc:sldMk cId="2334717616" sldId="1470"/>
            <ac:spMk id="8" creationId="{6BC81866-A73B-3D09-0BF2-618A9AB9B3DD}"/>
          </ac:spMkLst>
        </pc:spChg>
        <pc:spChg chg="mod">
          <ac:chgData name="Divya Rank" userId="8a86f94f-bc51-45b1-baba-7f5d30607298" providerId="ADAL" clId="{78EEDE45-01AF-4D07-82E4-B16E0EF225E9}" dt="2025-06-10T09:34:11.333" v="641" actId="2711"/>
          <ac:spMkLst>
            <pc:docMk/>
            <pc:sldMk cId="2334717616" sldId="1470"/>
            <ac:spMk id="9" creationId="{7103F88B-982D-4E28-7BA6-ACBF88E37A03}"/>
          </ac:spMkLst>
        </pc:spChg>
      </pc:sldChg>
      <pc:sldChg chg="modSp mod modAnim">
        <pc:chgData name="Divya Rank" userId="8a86f94f-bc51-45b1-baba-7f5d30607298" providerId="ADAL" clId="{78EEDE45-01AF-4D07-82E4-B16E0EF225E9}" dt="2025-06-10T09:33:28.837" v="640" actId="113"/>
        <pc:sldMkLst>
          <pc:docMk/>
          <pc:sldMk cId="2922851237" sldId="1471"/>
        </pc:sldMkLst>
        <pc:spChg chg="mod">
          <ac:chgData name="Divya Rank" userId="8a86f94f-bc51-45b1-baba-7f5d30607298" providerId="ADAL" clId="{78EEDE45-01AF-4D07-82E4-B16E0EF225E9}" dt="2025-06-10T09:33:28.837" v="640" actId="113"/>
          <ac:spMkLst>
            <pc:docMk/>
            <pc:sldMk cId="2922851237" sldId="1471"/>
            <ac:spMk id="2" creationId="{7720D735-7B20-5489-1618-F2F4041A3C30}"/>
          </ac:spMkLst>
        </pc:spChg>
        <pc:spChg chg="mod">
          <ac:chgData name="Divya Rank" userId="8a86f94f-bc51-45b1-baba-7f5d30607298" providerId="ADAL" clId="{78EEDE45-01AF-4D07-82E4-B16E0EF225E9}" dt="2025-06-10T09:33:23.012" v="638" actId="2711"/>
          <ac:spMkLst>
            <pc:docMk/>
            <pc:sldMk cId="2922851237" sldId="1471"/>
            <ac:spMk id="3" creationId="{45BCC9CC-D67D-BC30-A190-8BF4F99095DD}"/>
          </ac:spMkLst>
        </pc:spChg>
      </pc:sldChg>
      <pc:sldChg chg="modSp mod">
        <pc:chgData name="Divya Rank" userId="8a86f94f-bc51-45b1-baba-7f5d30607298" providerId="ADAL" clId="{78EEDE45-01AF-4D07-82E4-B16E0EF225E9}" dt="2025-06-10T09:12:04.607" v="179" actId="113"/>
        <pc:sldMkLst>
          <pc:docMk/>
          <pc:sldMk cId="615437714" sldId="1475"/>
        </pc:sldMkLst>
        <pc:spChg chg="mod">
          <ac:chgData name="Divya Rank" userId="8a86f94f-bc51-45b1-baba-7f5d30607298" providerId="ADAL" clId="{78EEDE45-01AF-4D07-82E4-B16E0EF225E9}" dt="2025-06-10T09:12:04.607" v="179" actId="113"/>
          <ac:spMkLst>
            <pc:docMk/>
            <pc:sldMk cId="615437714" sldId="1475"/>
            <ac:spMk id="2" creationId="{D0B06A2C-8377-46BD-A1E3-1BA4F17B2253}"/>
          </ac:spMkLst>
        </pc:spChg>
      </pc:sldChg>
      <pc:sldChg chg="modSp mod">
        <pc:chgData name="Divya Rank" userId="8a86f94f-bc51-45b1-baba-7f5d30607298" providerId="ADAL" clId="{78EEDE45-01AF-4D07-82E4-B16E0EF225E9}" dt="2025-06-10T09:13:43.224" v="210" actId="1036"/>
        <pc:sldMkLst>
          <pc:docMk/>
          <pc:sldMk cId="662215785" sldId="1477"/>
        </pc:sldMkLst>
        <pc:spChg chg="mod">
          <ac:chgData name="Divya Rank" userId="8a86f94f-bc51-45b1-baba-7f5d30607298" providerId="ADAL" clId="{78EEDE45-01AF-4D07-82E4-B16E0EF225E9}" dt="2025-06-10T09:13:43.224" v="210" actId="1036"/>
          <ac:spMkLst>
            <pc:docMk/>
            <pc:sldMk cId="662215785" sldId="1477"/>
            <ac:spMk id="2" creationId="{3E543FB7-DDA2-14B7-9BAA-CFA113274770}"/>
          </ac:spMkLst>
        </pc:spChg>
      </pc:sldChg>
      <pc:sldChg chg="modSp mod">
        <pc:chgData name="Divya Rank" userId="8a86f94f-bc51-45b1-baba-7f5d30607298" providerId="ADAL" clId="{78EEDE45-01AF-4D07-82E4-B16E0EF225E9}" dt="2025-06-10T09:14:13.884" v="216" actId="20577"/>
        <pc:sldMkLst>
          <pc:docMk/>
          <pc:sldMk cId="3809681679" sldId="1478"/>
        </pc:sldMkLst>
        <pc:spChg chg="mod">
          <ac:chgData name="Divya Rank" userId="8a86f94f-bc51-45b1-baba-7f5d30607298" providerId="ADAL" clId="{78EEDE45-01AF-4D07-82E4-B16E0EF225E9}" dt="2025-06-10T09:14:13.884" v="216" actId="20577"/>
          <ac:spMkLst>
            <pc:docMk/>
            <pc:sldMk cId="3809681679" sldId="1478"/>
            <ac:spMk id="2" creationId="{09B2505C-A355-EEA4-4D92-A07EA1A1D1B7}"/>
          </ac:spMkLst>
        </pc:spChg>
      </pc:sldChg>
      <pc:sldChg chg="modSp mod">
        <pc:chgData name="Divya Rank" userId="8a86f94f-bc51-45b1-baba-7f5d30607298" providerId="ADAL" clId="{78EEDE45-01AF-4D07-82E4-B16E0EF225E9}" dt="2025-06-10T09:14:05.172" v="213" actId="20577"/>
        <pc:sldMkLst>
          <pc:docMk/>
          <pc:sldMk cId="2015119999" sldId="1479"/>
        </pc:sldMkLst>
        <pc:spChg chg="mod">
          <ac:chgData name="Divya Rank" userId="8a86f94f-bc51-45b1-baba-7f5d30607298" providerId="ADAL" clId="{78EEDE45-01AF-4D07-82E4-B16E0EF225E9}" dt="2025-06-10T09:14:05.172" v="213" actId="20577"/>
          <ac:spMkLst>
            <pc:docMk/>
            <pc:sldMk cId="2015119999" sldId="1479"/>
            <ac:spMk id="2" creationId="{BA7BCB71-916B-FC72-A2DD-D72F82770D0B}"/>
          </ac:spMkLst>
        </pc:spChg>
      </pc:sldChg>
      <pc:sldChg chg="modSp mod">
        <pc:chgData name="Divya Rank" userId="8a86f94f-bc51-45b1-baba-7f5d30607298" providerId="ADAL" clId="{78EEDE45-01AF-4D07-82E4-B16E0EF225E9}" dt="2025-06-10T09:14:48.964" v="227" actId="1036"/>
        <pc:sldMkLst>
          <pc:docMk/>
          <pc:sldMk cId="1844276349" sldId="1481"/>
        </pc:sldMkLst>
        <pc:spChg chg="mod">
          <ac:chgData name="Divya Rank" userId="8a86f94f-bc51-45b1-baba-7f5d30607298" providerId="ADAL" clId="{78EEDE45-01AF-4D07-82E4-B16E0EF225E9}" dt="2025-06-10T09:14:48.964" v="227" actId="1036"/>
          <ac:spMkLst>
            <pc:docMk/>
            <pc:sldMk cId="1844276349" sldId="1481"/>
            <ac:spMk id="2" creationId="{6B627059-58ED-6154-D70F-0E0A43F3AE77}"/>
          </ac:spMkLst>
        </pc:spChg>
      </pc:sldChg>
      <pc:sldChg chg="modSp mod">
        <pc:chgData name="Divya Rank" userId="8a86f94f-bc51-45b1-baba-7f5d30607298" providerId="ADAL" clId="{78EEDE45-01AF-4D07-82E4-B16E0EF225E9}" dt="2025-06-10T09:12:48.423" v="183" actId="113"/>
        <pc:sldMkLst>
          <pc:docMk/>
          <pc:sldMk cId="4159238697" sldId="1482"/>
        </pc:sldMkLst>
        <pc:spChg chg="mod">
          <ac:chgData name="Divya Rank" userId="8a86f94f-bc51-45b1-baba-7f5d30607298" providerId="ADAL" clId="{78EEDE45-01AF-4D07-82E4-B16E0EF225E9}" dt="2025-06-10T09:12:48.423" v="183" actId="113"/>
          <ac:spMkLst>
            <pc:docMk/>
            <pc:sldMk cId="4159238697" sldId="1482"/>
            <ac:spMk id="2" creationId="{0A7595C0-18F1-2D9B-89EA-77834E71F886}"/>
          </ac:spMkLst>
        </pc:spChg>
      </pc:sldChg>
      <pc:sldChg chg="modSp mod">
        <pc:chgData name="Divya Rank" userId="8a86f94f-bc51-45b1-baba-7f5d30607298" providerId="ADAL" clId="{78EEDE45-01AF-4D07-82E4-B16E0EF225E9}" dt="2025-06-10T09:14:27.237" v="217" actId="6549"/>
        <pc:sldMkLst>
          <pc:docMk/>
          <pc:sldMk cId="881074547" sldId="1483"/>
        </pc:sldMkLst>
        <pc:spChg chg="mod">
          <ac:chgData name="Divya Rank" userId="8a86f94f-bc51-45b1-baba-7f5d30607298" providerId="ADAL" clId="{78EEDE45-01AF-4D07-82E4-B16E0EF225E9}" dt="2025-06-10T09:14:27.237" v="217" actId="6549"/>
          <ac:spMkLst>
            <pc:docMk/>
            <pc:sldMk cId="881074547" sldId="1483"/>
            <ac:spMk id="2" creationId="{AAC1CECF-8F08-D075-838A-BA6A3C5AD9CF}"/>
          </ac:spMkLst>
        </pc:spChg>
        <pc:picChg chg="mod">
          <ac:chgData name="Divya Rank" userId="8a86f94f-bc51-45b1-baba-7f5d30607298" providerId="ADAL" clId="{78EEDE45-01AF-4D07-82E4-B16E0EF225E9}" dt="2025-06-10T08:59:25.767" v="44" actId="1076"/>
          <ac:picMkLst>
            <pc:docMk/>
            <pc:sldMk cId="881074547" sldId="1483"/>
            <ac:picMk id="12" creationId="{6F13A107-7639-9DFB-3BC8-C691245F2328}"/>
          </ac:picMkLst>
        </pc:picChg>
      </pc:sldChg>
      <pc:sldChg chg="modSp mod">
        <pc:chgData name="Divya Rank" userId="8a86f94f-bc51-45b1-baba-7f5d30607298" providerId="ADAL" clId="{78EEDE45-01AF-4D07-82E4-B16E0EF225E9}" dt="2025-06-10T09:12:59.389" v="188" actId="113"/>
        <pc:sldMkLst>
          <pc:docMk/>
          <pc:sldMk cId="4081262848" sldId="1484"/>
        </pc:sldMkLst>
        <pc:spChg chg="mod">
          <ac:chgData name="Divya Rank" userId="8a86f94f-bc51-45b1-baba-7f5d30607298" providerId="ADAL" clId="{78EEDE45-01AF-4D07-82E4-B16E0EF225E9}" dt="2025-06-10T09:12:59.389" v="188" actId="113"/>
          <ac:spMkLst>
            <pc:docMk/>
            <pc:sldMk cId="4081262848" sldId="1484"/>
            <ac:spMk id="2" creationId="{B4AAD586-861F-7BD3-CF67-7D9ADFA7228F}"/>
          </ac:spMkLst>
        </pc:spChg>
      </pc:sldChg>
      <pc:sldChg chg="modSp mod">
        <pc:chgData name="Divya Rank" userId="8a86f94f-bc51-45b1-baba-7f5d30607298" providerId="ADAL" clId="{78EEDE45-01AF-4D07-82E4-B16E0EF225E9}" dt="2025-06-10T09:47:45.593" v="750" actId="2711"/>
        <pc:sldMkLst>
          <pc:docMk/>
          <pc:sldMk cId="2521043094" sldId="1485"/>
        </pc:sldMkLst>
        <pc:spChg chg="mod">
          <ac:chgData name="Divya Rank" userId="8a86f94f-bc51-45b1-baba-7f5d30607298" providerId="ADAL" clId="{78EEDE45-01AF-4D07-82E4-B16E0EF225E9}" dt="2025-06-10T09:14:32.090" v="218" actId="6549"/>
          <ac:spMkLst>
            <pc:docMk/>
            <pc:sldMk cId="2521043094" sldId="1485"/>
            <ac:spMk id="2" creationId="{3CD52E21-E1C3-150F-720A-92470B541E7B}"/>
          </ac:spMkLst>
        </pc:spChg>
        <pc:spChg chg="mod">
          <ac:chgData name="Divya Rank" userId="8a86f94f-bc51-45b1-baba-7f5d30607298" providerId="ADAL" clId="{78EEDE45-01AF-4D07-82E4-B16E0EF225E9}" dt="2025-06-10T09:47:45.593" v="750" actId="2711"/>
          <ac:spMkLst>
            <pc:docMk/>
            <pc:sldMk cId="2521043094" sldId="1485"/>
            <ac:spMk id="9" creationId="{3D85A627-3187-BA02-089C-7550BD8BA685}"/>
          </ac:spMkLst>
        </pc:spChg>
      </pc:sldChg>
      <pc:sldChg chg="modSp mod">
        <pc:chgData name="Divya Rank" userId="8a86f94f-bc51-45b1-baba-7f5d30607298" providerId="ADAL" clId="{78EEDE45-01AF-4D07-82E4-B16E0EF225E9}" dt="2025-06-10T09:13:10.828" v="193" actId="113"/>
        <pc:sldMkLst>
          <pc:docMk/>
          <pc:sldMk cId="245077087" sldId="1486"/>
        </pc:sldMkLst>
        <pc:spChg chg="mod">
          <ac:chgData name="Divya Rank" userId="8a86f94f-bc51-45b1-baba-7f5d30607298" providerId="ADAL" clId="{78EEDE45-01AF-4D07-82E4-B16E0EF225E9}" dt="2025-06-10T09:13:10.828" v="193" actId="113"/>
          <ac:spMkLst>
            <pc:docMk/>
            <pc:sldMk cId="245077087" sldId="1486"/>
            <ac:spMk id="2" creationId="{4BCF82C5-129B-2324-F970-28DD8EB721D3}"/>
          </ac:spMkLst>
        </pc:spChg>
      </pc:sldChg>
      <pc:sldChg chg="modSp mod">
        <pc:chgData name="Divya Rank" userId="8a86f94f-bc51-45b1-baba-7f5d30607298" providerId="ADAL" clId="{78EEDE45-01AF-4D07-82E4-B16E0EF225E9}" dt="2025-06-10T09:14:36.768" v="219" actId="6549"/>
        <pc:sldMkLst>
          <pc:docMk/>
          <pc:sldMk cId="1349145241" sldId="1487"/>
        </pc:sldMkLst>
        <pc:spChg chg="mod">
          <ac:chgData name="Divya Rank" userId="8a86f94f-bc51-45b1-baba-7f5d30607298" providerId="ADAL" clId="{78EEDE45-01AF-4D07-82E4-B16E0EF225E9}" dt="2025-06-10T09:14:36.768" v="219" actId="6549"/>
          <ac:spMkLst>
            <pc:docMk/>
            <pc:sldMk cId="1349145241" sldId="1487"/>
            <ac:spMk id="2" creationId="{7B2C060C-C60C-CE5B-D0DF-D5EB2B3C2012}"/>
          </ac:spMkLst>
        </pc:spChg>
      </pc:sldChg>
      <pc:sldChg chg="addSp delSp modSp mod">
        <pc:chgData name="Divya Rank" userId="8a86f94f-bc51-45b1-baba-7f5d30607298" providerId="ADAL" clId="{78EEDE45-01AF-4D07-82E4-B16E0EF225E9}" dt="2025-06-10T09:48:09.376" v="752" actId="113"/>
        <pc:sldMkLst>
          <pc:docMk/>
          <pc:sldMk cId="2382565619" sldId="1490"/>
        </pc:sldMkLst>
        <pc:spChg chg="add mod">
          <ac:chgData name="Divya Rank" userId="8a86f94f-bc51-45b1-baba-7f5d30607298" providerId="ADAL" clId="{78EEDE45-01AF-4D07-82E4-B16E0EF225E9}" dt="2025-06-10T09:16:31.813" v="294" actId="1035"/>
          <ac:spMkLst>
            <pc:docMk/>
            <pc:sldMk cId="2382565619" sldId="1490"/>
            <ac:spMk id="9" creationId="{1BE85513-65A7-9C0D-8280-0BBB5DAC25F7}"/>
          </ac:spMkLst>
        </pc:spChg>
        <pc:spChg chg="mod">
          <ac:chgData name="Divya Rank" userId="8a86f94f-bc51-45b1-baba-7f5d30607298" providerId="ADAL" clId="{78EEDE45-01AF-4D07-82E4-B16E0EF225E9}" dt="2025-06-10T09:48:09.376" v="752" actId="113"/>
          <ac:spMkLst>
            <pc:docMk/>
            <pc:sldMk cId="2382565619" sldId="1490"/>
            <ac:spMk id="29" creationId="{C91268D8-237E-B0A0-6D47-AF4D5D059076}"/>
          </ac:spMkLst>
        </pc:spChg>
      </pc:sldChg>
      <pc:sldChg chg="modSp mod">
        <pc:chgData name="Divya Rank" userId="8a86f94f-bc51-45b1-baba-7f5d30607298" providerId="ADAL" clId="{78EEDE45-01AF-4D07-82E4-B16E0EF225E9}" dt="2025-06-10T09:20:55.335" v="351" actId="1036"/>
        <pc:sldMkLst>
          <pc:docMk/>
          <pc:sldMk cId="127296720" sldId="1491"/>
        </pc:sldMkLst>
        <pc:spChg chg="mod">
          <ac:chgData name="Divya Rank" userId="8a86f94f-bc51-45b1-baba-7f5d30607298" providerId="ADAL" clId="{78EEDE45-01AF-4D07-82E4-B16E0EF225E9}" dt="2025-06-10T09:20:55.335" v="351" actId="1036"/>
          <ac:spMkLst>
            <pc:docMk/>
            <pc:sldMk cId="127296720" sldId="1491"/>
            <ac:spMk id="2" creationId="{A38A8F77-519A-026D-3805-5A86AE309536}"/>
          </ac:spMkLst>
        </pc:spChg>
      </pc:sldChg>
      <pc:sldChg chg="modSp mod">
        <pc:chgData name="Divya Rank" userId="8a86f94f-bc51-45b1-baba-7f5d30607298" providerId="ADAL" clId="{78EEDE45-01AF-4D07-82E4-B16E0EF225E9}" dt="2025-06-10T09:42:45.208" v="711" actId="113"/>
        <pc:sldMkLst>
          <pc:docMk/>
          <pc:sldMk cId="3658727067" sldId="1492"/>
        </pc:sldMkLst>
        <pc:spChg chg="mod">
          <ac:chgData name="Divya Rank" userId="8a86f94f-bc51-45b1-baba-7f5d30607298" providerId="ADAL" clId="{78EEDE45-01AF-4D07-82E4-B16E0EF225E9}" dt="2025-06-10T09:42:45.208" v="711" actId="113"/>
          <ac:spMkLst>
            <pc:docMk/>
            <pc:sldMk cId="3658727067" sldId="1492"/>
            <ac:spMk id="2" creationId="{FE67D942-ED8D-B289-DE91-1332626704EA}"/>
          </ac:spMkLst>
        </pc:spChg>
      </pc:sldChg>
      <pc:sldChg chg="modSp mod">
        <pc:chgData name="Divya Rank" userId="8a86f94f-bc51-45b1-baba-7f5d30607298" providerId="ADAL" clId="{78EEDE45-01AF-4D07-82E4-B16E0EF225E9}" dt="2025-06-10T09:21:00.369" v="358" actId="1036"/>
        <pc:sldMkLst>
          <pc:docMk/>
          <pc:sldMk cId="1158807392" sldId="1493"/>
        </pc:sldMkLst>
        <pc:spChg chg="mod">
          <ac:chgData name="Divya Rank" userId="8a86f94f-bc51-45b1-baba-7f5d30607298" providerId="ADAL" clId="{78EEDE45-01AF-4D07-82E4-B16E0EF225E9}" dt="2025-06-10T09:21:00.369" v="358" actId="1036"/>
          <ac:spMkLst>
            <pc:docMk/>
            <pc:sldMk cId="1158807392" sldId="1493"/>
            <ac:spMk id="2" creationId="{64A51FB7-10EF-6A50-F373-1C2E9415A7BE}"/>
          </ac:spMkLst>
        </pc:spChg>
      </pc:sldChg>
      <pc:sldChg chg="modSp mod">
        <pc:chgData name="Divya Rank" userId="8a86f94f-bc51-45b1-baba-7f5d30607298" providerId="ADAL" clId="{78EEDE45-01AF-4D07-82E4-B16E0EF225E9}" dt="2025-06-10T09:21:11.326" v="379" actId="1036"/>
        <pc:sldMkLst>
          <pc:docMk/>
          <pc:sldMk cId="604848690" sldId="1494"/>
        </pc:sldMkLst>
        <pc:spChg chg="mod">
          <ac:chgData name="Divya Rank" userId="8a86f94f-bc51-45b1-baba-7f5d30607298" providerId="ADAL" clId="{78EEDE45-01AF-4D07-82E4-B16E0EF225E9}" dt="2025-06-10T09:21:11.326" v="379" actId="1036"/>
          <ac:spMkLst>
            <pc:docMk/>
            <pc:sldMk cId="604848690" sldId="1494"/>
            <ac:spMk id="2" creationId="{65A0A03D-DB90-C1F4-FFC8-797F47F79FFA}"/>
          </ac:spMkLst>
        </pc:spChg>
      </pc:sldChg>
      <pc:sldChg chg="modSp mod">
        <pc:chgData name="Divya Rank" userId="8a86f94f-bc51-45b1-baba-7f5d30607298" providerId="ADAL" clId="{78EEDE45-01AF-4D07-82E4-B16E0EF225E9}" dt="2025-06-10T09:21:14.783" v="385" actId="1036"/>
        <pc:sldMkLst>
          <pc:docMk/>
          <pc:sldMk cId="1130605282" sldId="1495"/>
        </pc:sldMkLst>
        <pc:spChg chg="mod">
          <ac:chgData name="Divya Rank" userId="8a86f94f-bc51-45b1-baba-7f5d30607298" providerId="ADAL" clId="{78EEDE45-01AF-4D07-82E4-B16E0EF225E9}" dt="2025-06-10T09:21:14.783" v="385" actId="1036"/>
          <ac:spMkLst>
            <pc:docMk/>
            <pc:sldMk cId="1130605282" sldId="1495"/>
            <ac:spMk id="2" creationId="{3B855953-583E-F2FC-F34B-1DA3DC13678F}"/>
          </ac:spMkLst>
        </pc:spChg>
      </pc:sldChg>
      <pc:sldChg chg="modSp mod">
        <pc:chgData name="Divya Rank" userId="8a86f94f-bc51-45b1-baba-7f5d30607298" providerId="ADAL" clId="{78EEDE45-01AF-4D07-82E4-B16E0EF225E9}" dt="2025-06-10T09:21:21.490" v="398" actId="1036"/>
        <pc:sldMkLst>
          <pc:docMk/>
          <pc:sldMk cId="1523651696" sldId="1496"/>
        </pc:sldMkLst>
        <pc:spChg chg="mod">
          <ac:chgData name="Divya Rank" userId="8a86f94f-bc51-45b1-baba-7f5d30607298" providerId="ADAL" clId="{78EEDE45-01AF-4D07-82E4-B16E0EF225E9}" dt="2025-06-10T09:21:21.490" v="398" actId="1036"/>
          <ac:spMkLst>
            <pc:docMk/>
            <pc:sldMk cId="1523651696" sldId="1496"/>
            <ac:spMk id="2" creationId="{4D4C6BF0-CDB7-DF7D-C439-6E9FF3AEFFB5}"/>
          </ac:spMkLst>
        </pc:spChg>
      </pc:sldChg>
      <pc:sldChg chg="modSp mod">
        <pc:chgData name="Divya Rank" userId="8a86f94f-bc51-45b1-baba-7f5d30607298" providerId="ADAL" clId="{78EEDE45-01AF-4D07-82E4-B16E0EF225E9}" dt="2025-06-10T09:21:07.794" v="372" actId="1036"/>
        <pc:sldMkLst>
          <pc:docMk/>
          <pc:sldMk cId="2417004778" sldId="1498"/>
        </pc:sldMkLst>
        <pc:spChg chg="mod">
          <ac:chgData name="Divya Rank" userId="8a86f94f-bc51-45b1-baba-7f5d30607298" providerId="ADAL" clId="{78EEDE45-01AF-4D07-82E4-B16E0EF225E9}" dt="2025-06-10T09:21:07.794" v="372" actId="1036"/>
          <ac:spMkLst>
            <pc:docMk/>
            <pc:sldMk cId="2417004778" sldId="1498"/>
            <ac:spMk id="2" creationId="{35491DF4-62FB-E029-1DAD-8F74F1CFC744}"/>
          </ac:spMkLst>
        </pc:spChg>
      </pc:sldChg>
      <pc:sldChg chg="modSp mod">
        <pc:chgData name="Divya Rank" userId="8a86f94f-bc51-45b1-baba-7f5d30607298" providerId="ADAL" clId="{78EEDE45-01AF-4D07-82E4-B16E0EF225E9}" dt="2025-06-10T09:20:51.958" v="344" actId="1036"/>
        <pc:sldMkLst>
          <pc:docMk/>
          <pc:sldMk cId="88185852" sldId="1499"/>
        </pc:sldMkLst>
        <pc:spChg chg="mod">
          <ac:chgData name="Divya Rank" userId="8a86f94f-bc51-45b1-baba-7f5d30607298" providerId="ADAL" clId="{78EEDE45-01AF-4D07-82E4-B16E0EF225E9}" dt="2025-06-10T09:20:51.958" v="344" actId="1036"/>
          <ac:spMkLst>
            <pc:docMk/>
            <pc:sldMk cId="88185852" sldId="1499"/>
            <ac:spMk id="2" creationId="{95057665-1C5E-06E3-A330-5A4DA33295A6}"/>
          </ac:spMkLst>
        </pc:spChg>
      </pc:sldChg>
      <pc:sldChg chg="modSp mod">
        <pc:chgData name="Divya Rank" userId="8a86f94f-bc51-45b1-baba-7f5d30607298" providerId="ADAL" clId="{78EEDE45-01AF-4D07-82E4-B16E0EF225E9}" dt="2025-06-10T09:21:04.009" v="365" actId="1036"/>
        <pc:sldMkLst>
          <pc:docMk/>
          <pc:sldMk cId="1739768020" sldId="1500"/>
        </pc:sldMkLst>
        <pc:spChg chg="mod">
          <ac:chgData name="Divya Rank" userId="8a86f94f-bc51-45b1-baba-7f5d30607298" providerId="ADAL" clId="{78EEDE45-01AF-4D07-82E4-B16E0EF225E9}" dt="2025-06-10T09:21:04.009" v="365" actId="1036"/>
          <ac:spMkLst>
            <pc:docMk/>
            <pc:sldMk cId="1739768020" sldId="1500"/>
            <ac:spMk id="2" creationId="{7D4CF3CD-4632-EEEF-74BE-A64F8ECB54D5}"/>
          </ac:spMkLst>
        </pc:spChg>
      </pc:sldChg>
      <pc:sldChg chg="modSp mod">
        <pc:chgData name="Divya Rank" userId="8a86f94f-bc51-45b1-baba-7f5d30607298" providerId="ADAL" clId="{78EEDE45-01AF-4D07-82E4-B16E0EF225E9}" dt="2025-06-10T09:21:17.901" v="391" actId="1036"/>
        <pc:sldMkLst>
          <pc:docMk/>
          <pc:sldMk cId="740212731" sldId="1501"/>
        </pc:sldMkLst>
        <pc:spChg chg="mod">
          <ac:chgData name="Divya Rank" userId="8a86f94f-bc51-45b1-baba-7f5d30607298" providerId="ADAL" clId="{78EEDE45-01AF-4D07-82E4-B16E0EF225E9}" dt="2025-06-10T09:21:17.901" v="391" actId="1036"/>
          <ac:spMkLst>
            <pc:docMk/>
            <pc:sldMk cId="740212731" sldId="1501"/>
            <ac:spMk id="2" creationId="{8C4E9843-0C74-73F3-2482-ADE6F6DBF17B}"/>
          </ac:spMkLst>
        </pc:spChg>
      </pc:sldChg>
      <pc:sldChg chg="modSp mod">
        <pc:chgData name="Divya Rank" userId="8a86f94f-bc51-45b1-baba-7f5d30607298" providerId="ADAL" clId="{78EEDE45-01AF-4D07-82E4-B16E0EF225E9}" dt="2025-06-10T09:21:25.038" v="405" actId="1036"/>
        <pc:sldMkLst>
          <pc:docMk/>
          <pc:sldMk cId="3432880316" sldId="1502"/>
        </pc:sldMkLst>
        <pc:spChg chg="mod">
          <ac:chgData name="Divya Rank" userId="8a86f94f-bc51-45b1-baba-7f5d30607298" providerId="ADAL" clId="{78EEDE45-01AF-4D07-82E4-B16E0EF225E9}" dt="2025-06-10T09:21:25.038" v="405" actId="1036"/>
          <ac:spMkLst>
            <pc:docMk/>
            <pc:sldMk cId="3432880316" sldId="1502"/>
            <ac:spMk id="2" creationId="{90D8DBB4-2255-202F-0213-F8AE2B141ABE}"/>
          </ac:spMkLst>
        </pc:spChg>
      </pc:sldChg>
      <pc:sldChg chg="modSp mod">
        <pc:chgData name="Divya Rank" userId="8a86f94f-bc51-45b1-baba-7f5d30607298" providerId="ADAL" clId="{78EEDE45-01AF-4D07-82E4-B16E0EF225E9}" dt="2025-06-10T09:22:30.163" v="445" actId="1035"/>
        <pc:sldMkLst>
          <pc:docMk/>
          <pc:sldMk cId="3370607659" sldId="1504"/>
        </pc:sldMkLst>
        <pc:spChg chg="mod">
          <ac:chgData name="Divya Rank" userId="8a86f94f-bc51-45b1-baba-7f5d30607298" providerId="ADAL" clId="{78EEDE45-01AF-4D07-82E4-B16E0EF225E9}" dt="2025-06-10T09:22:30.163" v="445" actId="1035"/>
          <ac:spMkLst>
            <pc:docMk/>
            <pc:sldMk cId="3370607659" sldId="1504"/>
            <ac:spMk id="2" creationId="{64C1C827-EFEB-5D9F-583C-AB91412DE78C}"/>
          </ac:spMkLst>
        </pc:spChg>
      </pc:sldChg>
      <pc:sldChg chg="modSp mod">
        <pc:chgData name="Divya Rank" userId="8a86f94f-bc51-45b1-baba-7f5d30607298" providerId="ADAL" clId="{78EEDE45-01AF-4D07-82E4-B16E0EF225E9}" dt="2025-06-10T09:22:44.689" v="475" actId="1036"/>
        <pc:sldMkLst>
          <pc:docMk/>
          <pc:sldMk cId="2490475139" sldId="1505"/>
        </pc:sldMkLst>
        <pc:spChg chg="mod">
          <ac:chgData name="Divya Rank" userId="8a86f94f-bc51-45b1-baba-7f5d30607298" providerId="ADAL" clId="{78EEDE45-01AF-4D07-82E4-B16E0EF225E9}" dt="2025-06-10T09:22:44.689" v="475" actId="1036"/>
          <ac:spMkLst>
            <pc:docMk/>
            <pc:sldMk cId="2490475139" sldId="1505"/>
            <ac:spMk id="2" creationId="{2A121973-2E2C-D5E1-C04F-12A88E9346D5}"/>
          </ac:spMkLst>
        </pc:spChg>
      </pc:sldChg>
      <pc:sldChg chg="modSp mod">
        <pc:chgData name="Divya Rank" userId="8a86f94f-bc51-45b1-baba-7f5d30607298" providerId="ADAL" clId="{78EEDE45-01AF-4D07-82E4-B16E0EF225E9}" dt="2025-06-10T09:38:56.133" v="686" actId="113"/>
        <pc:sldMkLst>
          <pc:docMk/>
          <pc:sldMk cId="162605456" sldId="1506"/>
        </pc:sldMkLst>
        <pc:spChg chg="mod">
          <ac:chgData name="Divya Rank" userId="8a86f94f-bc51-45b1-baba-7f5d30607298" providerId="ADAL" clId="{78EEDE45-01AF-4D07-82E4-B16E0EF225E9}" dt="2025-06-10T09:38:56.133" v="686" actId="113"/>
          <ac:spMkLst>
            <pc:docMk/>
            <pc:sldMk cId="162605456" sldId="1506"/>
            <ac:spMk id="2" creationId="{CCD815C0-127D-E569-71E5-21FC5551C5C4}"/>
          </ac:spMkLst>
        </pc:spChg>
        <pc:spChg chg="mod">
          <ac:chgData name="Divya Rank" userId="8a86f94f-bc51-45b1-baba-7f5d30607298" providerId="ADAL" clId="{78EEDE45-01AF-4D07-82E4-B16E0EF225E9}" dt="2025-06-10T09:38:53.109" v="685" actId="2711"/>
          <ac:spMkLst>
            <pc:docMk/>
            <pc:sldMk cId="162605456" sldId="1506"/>
            <ac:spMk id="3" creationId="{98BCC8C3-E45B-93AF-1C8C-FB2C15DF8F09}"/>
          </ac:spMkLst>
        </pc:spChg>
        <pc:spChg chg="mod">
          <ac:chgData name="Divya Rank" userId="8a86f94f-bc51-45b1-baba-7f5d30607298" providerId="ADAL" clId="{78EEDE45-01AF-4D07-82E4-B16E0EF225E9}" dt="2025-06-10T09:38:53.109" v="685" actId="2711"/>
          <ac:spMkLst>
            <pc:docMk/>
            <pc:sldMk cId="162605456" sldId="1506"/>
            <ac:spMk id="4" creationId="{55A43AE6-35F0-D4E2-DCE2-A7E897CCFD51}"/>
          </ac:spMkLst>
        </pc:spChg>
        <pc:spChg chg="mod">
          <ac:chgData name="Divya Rank" userId="8a86f94f-bc51-45b1-baba-7f5d30607298" providerId="ADAL" clId="{78EEDE45-01AF-4D07-82E4-B16E0EF225E9}" dt="2025-06-10T09:38:53.109" v="685" actId="2711"/>
          <ac:spMkLst>
            <pc:docMk/>
            <pc:sldMk cId="162605456" sldId="1506"/>
            <ac:spMk id="35" creationId="{8335BBE0-EAD8-102A-887A-DBD804D83013}"/>
          </ac:spMkLst>
        </pc:spChg>
        <pc:spChg chg="mod">
          <ac:chgData name="Divya Rank" userId="8a86f94f-bc51-45b1-baba-7f5d30607298" providerId="ADAL" clId="{78EEDE45-01AF-4D07-82E4-B16E0EF225E9}" dt="2025-06-10T09:38:53.109" v="685" actId="2711"/>
          <ac:spMkLst>
            <pc:docMk/>
            <pc:sldMk cId="162605456" sldId="1506"/>
            <ac:spMk id="36" creationId="{99C19995-1C32-4659-5F2E-E2AF848846CB}"/>
          </ac:spMkLst>
        </pc:spChg>
        <pc:spChg chg="mod">
          <ac:chgData name="Divya Rank" userId="8a86f94f-bc51-45b1-baba-7f5d30607298" providerId="ADAL" clId="{78EEDE45-01AF-4D07-82E4-B16E0EF225E9}" dt="2025-06-10T09:38:53.109" v="685" actId="2711"/>
          <ac:spMkLst>
            <pc:docMk/>
            <pc:sldMk cId="162605456" sldId="1506"/>
            <ac:spMk id="47" creationId="{1B2A218E-1648-2C9D-8E1D-952B8BB993B8}"/>
          </ac:spMkLst>
        </pc:spChg>
      </pc:sldChg>
      <pc:sldChg chg="modSp mod modAnim">
        <pc:chgData name="Divya Rank" userId="8a86f94f-bc51-45b1-baba-7f5d30607298" providerId="ADAL" clId="{78EEDE45-01AF-4D07-82E4-B16E0EF225E9}" dt="2025-06-10T09:21:48.807" v="411" actId="1036"/>
        <pc:sldMkLst>
          <pc:docMk/>
          <pc:sldMk cId="4200326097" sldId="1507"/>
        </pc:sldMkLst>
        <pc:spChg chg="mod">
          <ac:chgData name="Divya Rank" userId="8a86f94f-bc51-45b1-baba-7f5d30607298" providerId="ADAL" clId="{78EEDE45-01AF-4D07-82E4-B16E0EF225E9}" dt="2025-06-10T09:21:48.807" v="411" actId="1036"/>
          <ac:spMkLst>
            <pc:docMk/>
            <pc:sldMk cId="4200326097" sldId="1507"/>
            <ac:spMk id="2" creationId="{AB33044D-1DF6-D4D2-12AB-B5F4246E7868}"/>
          </ac:spMkLst>
        </pc:spChg>
      </pc:sldChg>
      <pc:sldChg chg="modSp mod modAnim">
        <pc:chgData name="Divya Rank" userId="8a86f94f-bc51-45b1-baba-7f5d30607298" providerId="ADAL" clId="{78EEDE45-01AF-4D07-82E4-B16E0EF225E9}" dt="2025-06-10T09:21:53.290" v="419" actId="1036"/>
        <pc:sldMkLst>
          <pc:docMk/>
          <pc:sldMk cId="2849670523" sldId="1508"/>
        </pc:sldMkLst>
        <pc:spChg chg="mod">
          <ac:chgData name="Divya Rank" userId="8a86f94f-bc51-45b1-baba-7f5d30607298" providerId="ADAL" clId="{78EEDE45-01AF-4D07-82E4-B16E0EF225E9}" dt="2025-06-10T09:21:53.290" v="419" actId="1036"/>
          <ac:spMkLst>
            <pc:docMk/>
            <pc:sldMk cId="2849670523" sldId="1508"/>
            <ac:spMk id="2" creationId="{2457E66D-3A0D-5B43-A387-9579E88307E4}"/>
          </ac:spMkLst>
        </pc:spChg>
      </pc:sldChg>
      <pc:sldChg chg="modSp mod">
        <pc:chgData name="Divya Rank" userId="8a86f94f-bc51-45b1-baba-7f5d30607298" providerId="ADAL" clId="{78EEDE45-01AF-4D07-82E4-B16E0EF225E9}" dt="2025-06-10T10:15:21.775" v="864" actId="1036"/>
        <pc:sldMkLst>
          <pc:docMk/>
          <pc:sldMk cId="3142948251" sldId="1509"/>
        </pc:sldMkLst>
        <pc:spChg chg="mod">
          <ac:chgData name="Divya Rank" userId="8a86f94f-bc51-45b1-baba-7f5d30607298" providerId="ADAL" clId="{78EEDE45-01AF-4D07-82E4-B16E0EF225E9}" dt="2025-06-10T09:21:57.083" v="428" actId="1036"/>
          <ac:spMkLst>
            <pc:docMk/>
            <pc:sldMk cId="3142948251" sldId="1509"/>
            <ac:spMk id="2" creationId="{08D58D26-850D-9B2F-F471-B0B9B79AC494}"/>
          </ac:spMkLst>
        </pc:spChg>
      </pc:sldChg>
      <pc:sldChg chg="modSp mod">
        <pc:chgData name="Divya Rank" userId="8a86f94f-bc51-45b1-baba-7f5d30607298" providerId="ADAL" clId="{78EEDE45-01AF-4D07-82E4-B16E0EF225E9}" dt="2025-06-10T09:15:04.163" v="244" actId="113"/>
        <pc:sldMkLst>
          <pc:docMk/>
          <pc:sldMk cId="565224556" sldId="1510"/>
        </pc:sldMkLst>
        <pc:spChg chg="mod">
          <ac:chgData name="Divya Rank" userId="8a86f94f-bc51-45b1-baba-7f5d30607298" providerId="ADAL" clId="{78EEDE45-01AF-4D07-82E4-B16E0EF225E9}" dt="2025-06-10T09:15:04.163" v="244" actId="113"/>
          <ac:spMkLst>
            <pc:docMk/>
            <pc:sldMk cId="565224556" sldId="1510"/>
            <ac:spMk id="2" creationId="{1B5936FD-1434-8810-7AD4-09AF7C1B2FE1}"/>
          </ac:spMkLst>
        </pc:spChg>
      </pc:sldChg>
      <pc:sldChg chg="modSp mod">
        <pc:chgData name="Divya Rank" userId="8a86f94f-bc51-45b1-baba-7f5d30607298" providerId="ADAL" clId="{78EEDE45-01AF-4D07-82E4-B16E0EF225E9}" dt="2025-06-10T09:22:58.193" v="498" actId="1036"/>
        <pc:sldMkLst>
          <pc:docMk/>
          <pc:sldMk cId="117637490" sldId="1511"/>
        </pc:sldMkLst>
        <pc:spChg chg="mod">
          <ac:chgData name="Divya Rank" userId="8a86f94f-bc51-45b1-baba-7f5d30607298" providerId="ADAL" clId="{78EEDE45-01AF-4D07-82E4-B16E0EF225E9}" dt="2025-06-10T09:22:58.193" v="498" actId="1036"/>
          <ac:spMkLst>
            <pc:docMk/>
            <pc:sldMk cId="117637490" sldId="1511"/>
            <ac:spMk id="2" creationId="{60C968A0-D78A-29BD-D370-62067E1C3BF7}"/>
          </ac:spMkLst>
        </pc:spChg>
      </pc:sldChg>
      <pc:sldChg chg="modSp mod">
        <pc:chgData name="Divya Rank" userId="8a86f94f-bc51-45b1-baba-7f5d30607298" providerId="ADAL" clId="{78EEDE45-01AF-4D07-82E4-B16E0EF225E9}" dt="2025-06-10T09:23:01.632" v="505" actId="1036"/>
        <pc:sldMkLst>
          <pc:docMk/>
          <pc:sldMk cId="1876151764" sldId="1512"/>
        </pc:sldMkLst>
        <pc:spChg chg="mod">
          <ac:chgData name="Divya Rank" userId="8a86f94f-bc51-45b1-baba-7f5d30607298" providerId="ADAL" clId="{78EEDE45-01AF-4D07-82E4-B16E0EF225E9}" dt="2025-06-10T09:23:01.632" v="505" actId="1036"/>
          <ac:spMkLst>
            <pc:docMk/>
            <pc:sldMk cId="1876151764" sldId="1512"/>
            <ac:spMk id="2" creationId="{10ED9BC6-94B1-1E40-2DA6-F415B35F1143}"/>
          </ac:spMkLst>
        </pc:spChg>
      </pc:sldChg>
      <pc:sldChg chg="modSp mod">
        <pc:chgData name="Divya Rank" userId="8a86f94f-bc51-45b1-baba-7f5d30607298" providerId="ADAL" clId="{78EEDE45-01AF-4D07-82E4-B16E0EF225E9}" dt="2025-06-10T09:23:05.473" v="512" actId="1036"/>
        <pc:sldMkLst>
          <pc:docMk/>
          <pc:sldMk cId="403333356" sldId="1513"/>
        </pc:sldMkLst>
        <pc:spChg chg="mod">
          <ac:chgData name="Divya Rank" userId="8a86f94f-bc51-45b1-baba-7f5d30607298" providerId="ADAL" clId="{78EEDE45-01AF-4D07-82E4-B16E0EF225E9}" dt="2025-06-10T09:23:05.473" v="512" actId="1036"/>
          <ac:spMkLst>
            <pc:docMk/>
            <pc:sldMk cId="403333356" sldId="1513"/>
            <ac:spMk id="2" creationId="{FD4A823F-7087-BD38-3EC6-E536FA3032FA}"/>
          </ac:spMkLst>
        </pc:spChg>
      </pc:sldChg>
      <pc:sldChg chg="modSp mod">
        <pc:chgData name="Divya Rank" userId="8a86f94f-bc51-45b1-baba-7f5d30607298" providerId="ADAL" clId="{78EEDE45-01AF-4D07-82E4-B16E0EF225E9}" dt="2025-06-10T09:23:10.159" v="521" actId="1035"/>
        <pc:sldMkLst>
          <pc:docMk/>
          <pc:sldMk cId="3867998531" sldId="1514"/>
        </pc:sldMkLst>
        <pc:spChg chg="mod">
          <ac:chgData name="Divya Rank" userId="8a86f94f-bc51-45b1-baba-7f5d30607298" providerId="ADAL" clId="{78EEDE45-01AF-4D07-82E4-B16E0EF225E9}" dt="2025-06-10T09:23:10.159" v="521" actId="1035"/>
          <ac:spMkLst>
            <pc:docMk/>
            <pc:sldMk cId="3867998531" sldId="1514"/>
            <ac:spMk id="2" creationId="{CE600453-5AF6-3C07-0D61-C5996D1E7F52}"/>
          </ac:spMkLst>
        </pc:spChg>
      </pc:sldChg>
      <pc:sldChg chg="add">
        <pc:chgData name="Divya Rank" userId="8a86f94f-bc51-45b1-baba-7f5d30607298" providerId="ADAL" clId="{78EEDE45-01AF-4D07-82E4-B16E0EF225E9}" dt="2025-06-10T09:19:11.308" v="329"/>
        <pc:sldMkLst>
          <pc:docMk/>
          <pc:sldMk cId="3949210566" sldId="1514"/>
        </pc:sldMkLst>
      </pc:sldChg>
      <pc:sldChg chg="modSp mod">
        <pc:chgData name="Divya Rank" userId="8a86f94f-bc51-45b1-baba-7f5d30607298" providerId="ADAL" clId="{78EEDE45-01AF-4D07-82E4-B16E0EF225E9}" dt="2025-06-10T10:01:26.020" v="801" actId="207"/>
        <pc:sldMkLst>
          <pc:docMk/>
          <pc:sldMk cId="3949210566" sldId="1515"/>
        </pc:sldMkLst>
        <pc:spChg chg="mod">
          <ac:chgData name="Divya Rank" userId="8a86f94f-bc51-45b1-baba-7f5d30607298" providerId="ADAL" clId="{78EEDE45-01AF-4D07-82E4-B16E0EF225E9}" dt="2025-06-10T09:42:37.489" v="710" actId="2711"/>
          <ac:spMkLst>
            <pc:docMk/>
            <pc:sldMk cId="3949210566" sldId="1515"/>
            <ac:spMk id="5" creationId="{8406C6B7-8EE4-3FA0-41B4-0905FB78F45A}"/>
          </ac:spMkLst>
        </pc:spChg>
        <pc:spChg chg="mod">
          <ac:chgData name="Divya Rank" userId="8a86f94f-bc51-45b1-baba-7f5d30607298" providerId="ADAL" clId="{78EEDE45-01AF-4D07-82E4-B16E0EF225E9}" dt="2025-06-10T09:42:37.489" v="710" actId="2711"/>
          <ac:spMkLst>
            <pc:docMk/>
            <pc:sldMk cId="3949210566" sldId="1515"/>
            <ac:spMk id="6" creationId="{C4DCD8E0-2C01-6D6F-4868-7A946894F7B9}"/>
          </ac:spMkLst>
        </pc:spChg>
        <pc:spChg chg="mod">
          <ac:chgData name="Divya Rank" userId="8a86f94f-bc51-45b1-baba-7f5d30607298" providerId="ADAL" clId="{78EEDE45-01AF-4D07-82E4-B16E0EF225E9}" dt="2025-06-10T10:01:26.020" v="801" actId="207"/>
          <ac:spMkLst>
            <pc:docMk/>
            <pc:sldMk cId="3949210566" sldId="1515"/>
            <ac:spMk id="8" creationId="{0374013C-4FF0-9022-94BD-E4E51B8A0D11}"/>
          </ac:spMkLst>
        </pc:spChg>
        <pc:spChg chg="mod">
          <ac:chgData name="Divya Rank" userId="8a86f94f-bc51-45b1-baba-7f5d30607298" providerId="ADAL" clId="{78EEDE45-01AF-4D07-82E4-B16E0EF225E9}" dt="2025-06-10T10:01:26.020" v="801" actId="207"/>
          <ac:spMkLst>
            <pc:docMk/>
            <pc:sldMk cId="3949210566" sldId="1515"/>
            <ac:spMk id="9" creationId="{B60632C9-C331-0BF6-38DE-4AC5A8FAEC77}"/>
          </ac:spMkLst>
        </pc:spChg>
        <pc:spChg chg="mod">
          <ac:chgData name="Divya Rank" userId="8a86f94f-bc51-45b1-baba-7f5d30607298" providerId="ADAL" clId="{78EEDE45-01AF-4D07-82E4-B16E0EF225E9}" dt="2025-06-10T09:42:37.489" v="710" actId="2711"/>
          <ac:spMkLst>
            <pc:docMk/>
            <pc:sldMk cId="3949210566" sldId="1515"/>
            <ac:spMk id="11" creationId="{A0DFA08C-74AE-5049-C070-BB64FE80E3BD}"/>
          </ac:spMkLst>
        </pc:spChg>
      </pc:sldChg>
      <pc:sldChg chg="modSp mod">
        <pc:chgData name="Divya Rank" userId="8a86f94f-bc51-45b1-baba-7f5d30607298" providerId="ADAL" clId="{78EEDE45-01AF-4D07-82E4-B16E0EF225E9}" dt="2025-06-10T09:23:13.196" v="528" actId="1036"/>
        <pc:sldMkLst>
          <pc:docMk/>
          <pc:sldMk cId="3967225034" sldId="1516"/>
        </pc:sldMkLst>
        <pc:spChg chg="mod">
          <ac:chgData name="Divya Rank" userId="8a86f94f-bc51-45b1-baba-7f5d30607298" providerId="ADAL" clId="{78EEDE45-01AF-4D07-82E4-B16E0EF225E9}" dt="2025-06-10T09:23:13.196" v="528" actId="1036"/>
          <ac:spMkLst>
            <pc:docMk/>
            <pc:sldMk cId="3967225034" sldId="1516"/>
            <ac:spMk id="2" creationId="{CBEEAA53-6F2C-2FD4-35C8-01B37C43CEA4}"/>
          </ac:spMkLst>
        </pc:spChg>
      </pc:sldChg>
      <pc:sldChg chg="modSp add mod">
        <pc:chgData name="Divya Rank" userId="8a86f94f-bc51-45b1-baba-7f5d30607298" providerId="ADAL" clId="{78EEDE45-01AF-4D07-82E4-B16E0EF225E9}" dt="2025-06-10T10:02:28.421" v="803" actId="207"/>
        <pc:sldMkLst>
          <pc:docMk/>
          <pc:sldMk cId="4150848885" sldId="1517"/>
        </pc:sldMkLst>
        <pc:spChg chg="mod">
          <ac:chgData name="Divya Rank" userId="8a86f94f-bc51-45b1-baba-7f5d30607298" providerId="ADAL" clId="{78EEDE45-01AF-4D07-82E4-B16E0EF225E9}" dt="2025-06-10T09:42:15.248" v="709" actId="2711"/>
          <ac:spMkLst>
            <pc:docMk/>
            <pc:sldMk cId="4150848885" sldId="1517"/>
            <ac:spMk id="5" creationId="{E2992855-BA01-AD0F-B4A3-AC8F14BFE050}"/>
          </ac:spMkLst>
        </pc:spChg>
        <pc:spChg chg="mod">
          <ac:chgData name="Divya Rank" userId="8a86f94f-bc51-45b1-baba-7f5d30607298" providerId="ADAL" clId="{78EEDE45-01AF-4D07-82E4-B16E0EF225E9}" dt="2025-06-10T09:42:15.248" v="709" actId="2711"/>
          <ac:spMkLst>
            <pc:docMk/>
            <pc:sldMk cId="4150848885" sldId="1517"/>
            <ac:spMk id="6" creationId="{D68C4067-977B-2EDF-453F-64DBE95030A0}"/>
          </ac:spMkLst>
        </pc:spChg>
        <pc:spChg chg="mod">
          <ac:chgData name="Divya Rank" userId="8a86f94f-bc51-45b1-baba-7f5d30607298" providerId="ADAL" clId="{78EEDE45-01AF-4D07-82E4-B16E0EF225E9}" dt="2025-06-10T10:02:28.421" v="803" actId="207"/>
          <ac:spMkLst>
            <pc:docMk/>
            <pc:sldMk cId="4150848885" sldId="1517"/>
            <ac:spMk id="8" creationId="{B8B1D500-20E7-84AF-797D-74BF280B8EF5}"/>
          </ac:spMkLst>
        </pc:spChg>
        <pc:spChg chg="mod">
          <ac:chgData name="Divya Rank" userId="8a86f94f-bc51-45b1-baba-7f5d30607298" providerId="ADAL" clId="{78EEDE45-01AF-4D07-82E4-B16E0EF225E9}" dt="2025-06-10T10:02:28.421" v="803" actId="207"/>
          <ac:spMkLst>
            <pc:docMk/>
            <pc:sldMk cId="4150848885" sldId="1517"/>
            <ac:spMk id="9" creationId="{9465B5BE-D1FD-3875-19D4-86F6B897279D}"/>
          </ac:spMkLst>
        </pc:spChg>
        <pc:spChg chg="mod">
          <ac:chgData name="Divya Rank" userId="8a86f94f-bc51-45b1-baba-7f5d30607298" providerId="ADAL" clId="{78EEDE45-01AF-4D07-82E4-B16E0EF225E9}" dt="2025-06-10T09:42:15.248" v="709" actId="2711"/>
          <ac:spMkLst>
            <pc:docMk/>
            <pc:sldMk cId="4150848885" sldId="1517"/>
            <ac:spMk id="11" creationId="{581CB975-7A95-5EEB-3BFE-F5EE55561B78}"/>
          </ac:spMkLst>
        </pc:spChg>
      </pc:sldChg>
      <pc:sldChg chg="modSp mod">
        <pc:chgData name="Divya Rank" userId="8a86f94f-bc51-45b1-baba-7f5d30607298" providerId="ADAL" clId="{78EEDE45-01AF-4D07-82E4-B16E0EF225E9}" dt="2025-06-10T09:23:17.902" v="535" actId="1036"/>
        <pc:sldMkLst>
          <pc:docMk/>
          <pc:sldMk cId="68260875" sldId="1518"/>
        </pc:sldMkLst>
        <pc:spChg chg="mod">
          <ac:chgData name="Divya Rank" userId="8a86f94f-bc51-45b1-baba-7f5d30607298" providerId="ADAL" clId="{78EEDE45-01AF-4D07-82E4-B16E0EF225E9}" dt="2025-06-10T09:23:17.902" v="535" actId="1036"/>
          <ac:spMkLst>
            <pc:docMk/>
            <pc:sldMk cId="68260875" sldId="1518"/>
            <ac:spMk id="2" creationId="{B72553C1-462F-557C-526B-1B7E7F879C52}"/>
          </ac:spMkLst>
        </pc:spChg>
      </pc:sldChg>
      <pc:sldChg chg="modSp mod">
        <pc:chgData name="Divya Rank" userId="8a86f94f-bc51-45b1-baba-7f5d30607298" providerId="ADAL" clId="{78EEDE45-01AF-4D07-82E4-B16E0EF225E9}" dt="2025-06-10T09:23:26.489" v="542" actId="1036"/>
        <pc:sldMkLst>
          <pc:docMk/>
          <pc:sldMk cId="2899677496" sldId="1519"/>
        </pc:sldMkLst>
        <pc:spChg chg="mod">
          <ac:chgData name="Divya Rank" userId="8a86f94f-bc51-45b1-baba-7f5d30607298" providerId="ADAL" clId="{78EEDE45-01AF-4D07-82E4-B16E0EF225E9}" dt="2025-06-10T09:23:26.489" v="542" actId="1036"/>
          <ac:spMkLst>
            <pc:docMk/>
            <pc:sldMk cId="2899677496" sldId="1519"/>
            <ac:spMk id="2" creationId="{AE8503D4-042F-3121-5C0B-636E768406E8}"/>
          </ac:spMkLst>
        </pc:spChg>
      </pc:sldChg>
      <pc:sldChg chg="modSp mod">
        <pc:chgData name="Divya Rank" userId="8a86f94f-bc51-45b1-baba-7f5d30607298" providerId="ADAL" clId="{78EEDE45-01AF-4D07-82E4-B16E0EF225E9}" dt="2025-06-10T09:26:16.776" v="572" actId="1036"/>
        <pc:sldMkLst>
          <pc:docMk/>
          <pc:sldMk cId="449362144" sldId="1520"/>
        </pc:sldMkLst>
        <pc:spChg chg="mod">
          <ac:chgData name="Divya Rank" userId="8a86f94f-bc51-45b1-baba-7f5d30607298" providerId="ADAL" clId="{78EEDE45-01AF-4D07-82E4-B16E0EF225E9}" dt="2025-06-10T09:26:16.776" v="572" actId="1036"/>
          <ac:spMkLst>
            <pc:docMk/>
            <pc:sldMk cId="449362144" sldId="1520"/>
            <ac:spMk id="2" creationId="{A9ECC4C8-BF3D-E8F0-AF7F-A1AA89EFFBF8}"/>
          </ac:spMkLst>
        </pc:spChg>
      </pc:sldChg>
      <pc:sldChg chg="modSp mod">
        <pc:chgData name="Divya Rank" userId="8a86f94f-bc51-45b1-baba-7f5d30607298" providerId="ADAL" clId="{78EEDE45-01AF-4D07-82E4-B16E0EF225E9}" dt="2025-06-10T09:26:13.538" v="570" actId="1035"/>
        <pc:sldMkLst>
          <pc:docMk/>
          <pc:sldMk cId="2921432197" sldId="1521"/>
        </pc:sldMkLst>
        <pc:spChg chg="mod">
          <ac:chgData name="Divya Rank" userId="8a86f94f-bc51-45b1-baba-7f5d30607298" providerId="ADAL" clId="{78EEDE45-01AF-4D07-82E4-B16E0EF225E9}" dt="2025-06-10T09:26:13.538" v="570" actId="1035"/>
          <ac:spMkLst>
            <pc:docMk/>
            <pc:sldMk cId="2921432197" sldId="1521"/>
            <ac:spMk id="2" creationId="{E32D2D02-3A6D-3373-D8C2-6C016C3706F5}"/>
          </ac:spMkLst>
        </pc:spChg>
      </pc:sldChg>
      <pc:sldChg chg="modSp mod">
        <pc:chgData name="Divya Rank" userId="8a86f94f-bc51-45b1-baba-7f5d30607298" providerId="ADAL" clId="{78EEDE45-01AF-4D07-82E4-B16E0EF225E9}" dt="2025-06-10T09:26:26.502" v="573" actId="1035"/>
        <pc:sldMkLst>
          <pc:docMk/>
          <pc:sldMk cId="155678836" sldId="1522"/>
        </pc:sldMkLst>
        <pc:spChg chg="mod">
          <ac:chgData name="Divya Rank" userId="8a86f94f-bc51-45b1-baba-7f5d30607298" providerId="ADAL" clId="{78EEDE45-01AF-4D07-82E4-B16E0EF225E9}" dt="2025-06-10T09:26:26.502" v="573" actId="1035"/>
          <ac:spMkLst>
            <pc:docMk/>
            <pc:sldMk cId="155678836" sldId="1522"/>
            <ac:spMk id="2" creationId="{971EFC83-31CB-A99E-0A40-4144CD7EC39C}"/>
          </ac:spMkLst>
        </pc:spChg>
      </pc:sldChg>
      <pc:sldChg chg="modSp mod">
        <pc:chgData name="Divya Rank" userId="8a86f94f-bc51-45b1-baba-7f5d30607298" providerId="ADAL" clId="{78EEDE45-01AF-4D07-82E4-B16E0EF225E9}" dt="2025-06-10T09:26:31.146" v="575" actId="1036"/>
        <pc:sldMkLst>
          <pc:docMk/>
          <pc:sldMk cId="1698335145" sldId="1523"/>
        </pc:sldMkLst>
        <pc:spChg chg="mod">
          <ac:chgData name="Divya Rank" userId="8a86f94f-bc51-45b1-baba-7f5d30607298" providerId="ADAL" clId="{78EEDE45-01AF-4D07-82E4-B16E0EF225E9}" dt="2025-06-10T09:26:31.146" v="575" actId="1036"/>
          <ac:spMkLst>
            <pc:docMk/>
            <pc:sldMk cId="1698335145" sldId="1523"/>
            <ac:spMk id="2" creationId="{A4498E6D-9FEA-D4E0-5E59-07BE48900FF8}"/>
          </ac:spMkLst>
        </pc:spChg>
      </pc:sldChg>
      <pc:sldChg chg="modSp mod">
        <pc:chgData name="Divya Rank" userId="8a86f94f-bc51-45b1-baba-7f5d30607298" providerId="ADAL" clId="{78EEDE45-01AF-4D07-82E4-B16E0EF225E9}" dt="2025-06-10T09:45:28.181" v="740" actId="208"/>
        <pc:sldMkLst>
          <pc:docMk/>
          <pc:sldMk cId="156778809" sldId="1525"/>
        </pc:sldMkLst>
      </pc:sldChg>
      <pc:sldMasterChg chg="modSldLayout">
        <pc:chgData name="Divya Rank" userId="8a86f94f-bc51-45b1-baba-7f5d30607298" providerId="ADAL" clId="{78EEDE45-01AF-4D07-82E4-B16E0EF225E9}" dt="2025-06-10T09:10:57.143" v="159"/>
        <pc:sldMasterMkLst>
          <pc:docMk/>
          <pc:sldMasterMk cId="3152224442" sldId="2147483648"/>
        </pc:sldMasterMkLst>
        <pc:sldLayoutChg chg="addSp delSp modSp mod">
          <pc:chgData name="Divya Rank" userId="8a86f94f-bc51-45b1-baba-7f5d30607298" providerId="ADAL" clId="{78EEDE45-01AF-4D07-82E4-B16E0EF225E9}" dt="2025-06-10T09:10:57.143" v="159"/>
          <pc:sldLayoutMkLst>
            <pc:docMk/>
            <pc:sldMasterMk cId="3152224442" sldId="2147483648"/>
            <pc:sldLayoutMk cId="2089765715" sldId="2147483673"/>
          </pc:sldLayoutMkLst>
          <pc:picChg chg="add mod">
            <ac:chgData name="Divya Rank" userId="8a86f94f-bc51-45b1-baba-7f5d30607298" providerId="ADAL" clId="{78EEDE45-01AF-4D07-82E4-B16E0EF225E9}" dt="2025-06-10T09:10:57.143" v="159"/>
            <ac:picMkLst>
              <pc:docMk/>
              <pc:sldMasterMk cId="3152224442" sldId="2147483648"/>
              <pc:sldLayoutMk cId="2089765715" sldId="2147483673"/>
              <ac:picMk id="3" creationId="{45BFB49C-D28F-6566-790F-198BBF684BF9}"/>
            </ac:picMkLst>
          </pc:picChg>
        </pc:sldLayoutChg>
      </pc:sldMasterChg>
    </pc:docChg>
  </pc:docChgLst>
</pc:chgInfo>
</file>

<file path=ppt/comments/modernComment_7FFFCCA2_C86F2C0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8E42D1B-9A29-4464-BA05-204326E9216A}" authorId="{6BD92056-747C-FD22-006B-B2F26694C8CF}" created="2025-06-22T12:11:55.791">
    <pc:sldMkLst xmlns:pc="http://schemas.microsoft.com/office/powerpoint/2013/main/command">
      <pc:docMk/>
      <pc:sldMk cId="3362728968" sldId="2147470498"/>
    </pc:sldMkLst>
    <p188:replyLst>
      <p188:reply id="{399024D8-6F0C-4BC5-8E5C-18549FFB154C}" authorId="{6BD92056-747C-FD22-006B-B2F26694C8CF}" created="2025-06-22T12:47:09.024">
        <p188:txBody>
          <a:bodyPr/>
          <a:lstStyle/>
          <a:p>
            <a:r>
              <a:rPr lang="en-IN"/>
              <a:t>Also highlight few keywords wherever applicable
</a:t>
            </a:r>
          </a:p>
        </p188:txBody>
      </p188:reply>
    </p188:replyLst>
    <p188:txBody>
      <a:bodyPr/>
      <a:lstStyle/>
      <a:p>
        <a:r>
          <a:rPr lang="en-IN"/>
          <a:t>Topics:
@Divya Rank and @Krishna Sharma
Please add and validate quiz (2 quizzes) and 1 summary for each of section 1-7.
Some of the sections already have these, you can modify if needed or keep it as is if reelvant. </a:t>
        </a:r>
      </a:p>
    </p188:txBody>
  </p188:cm>
  <p188:cm id="{AB740F3D-0ECD-4764-B3BF-141D9E8D9A08}" authorId="{6BD92056-747C-FD22-006B-B2F26694C8CF}" created="2025-06-22T12:46:51.594">
    <pc:sldMkLst xmlns:pc="http://schemas.microsoft.com/office/powerpoint/2013/main/command">
      <pc:docMk/>
      <pc:sldMk cId="3362728968" sldId="2147470498"/>
    </pc:sldMkLst>
    <p188:txBody>
      <a:bodyPr/>
      <a:lstStyle/>
      <a:p>
        <a:r>
          <a:rPr lang="en-IN"/>
          <a:t>Design Changes @Krishna Patel
Use fonts and font sizes as per the style guide
Use TUV SUD’s primary colours instead of others
Standardize the icons across the slides Refer to TUV SUD’s e-learning nugget for reference/inspiration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A07280-2C3E-413E-9216-CF5F804F21B6}" type="datetimeFigureOut">
              <a:rPr lang="de-DE"/>
              <a:t>29.07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3D1100-2821-4669-A8DA-187DEDF7033C}" type="slidenum">
              <a:rPr lang="de-DE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1671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Instead of buying and managing physical servers, manufacturers can rent computing infrastructure from cloud providers like AWS, Azure, or Google Cloud.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3D1100-2821-4669-A8DA-187DEDF7033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78169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5EA97B-C39D-6D1F-CAB1-DFB8BD6EA6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DC0285-7EBB-96BA-EE2C-39DC4A6A10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0DB75D-B33E-BEB0-EB3E-D4E02FA801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4AD0DF-56F7-793E-74C5-BCFEF12659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3D1100-2821-4669-A8DA-187DEDF7033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55211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98C80E-2D3E-4E0A-3FD6-F1EC5ED7BB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329C2E-67A5-1723-8538-B7BB659951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C3FDD0-7450-555B-8B00-C0241AD757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SaaS gives you ready-to-use software through your web browser. 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200" dirty="0"/>
              <a:t>Just log in and start using it no downloads, installations, or updates needed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548D5B-BA53-5D1B-3A66-E779999340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3D1100-2821-4669-A8DA-187DEDF7033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2316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4" y="428625"/>
            <a:ext cx="8382001" cy="3600449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de-DE"/>
              <a:t>Edit presentation title by clicking</a:t>
            </a:r>
          </a:p>
        </p:txBody>
      </p:sp>
      <p:pic>
        <p:nvPicPr>
          <p:cNvPr id="6" name="Google Shape;23;p71">
            <a:extLst>
              <a:ext uri="{FF2B5EF4-FFF2-40B4-BE49-F238E27FC236}">
                <a16:creationId xmlns:a16="http://schemas.microsoft.com/office/drawing/2014/main" id="{E5A7D8A7-B5D3-3237-EF85-9F555F5C2909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9173" y="4324351"/>
            <a:ext cx="8382001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9173" y="4987089"/>
            <a:ext cx="8382002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B9F4649-2965-CA4D-2675-F5D97D29A7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950244" y="5687373"/>
            <a:ext cx="1906794" cy="638397"/>
          </a:xfrm>
          <a:prstGeom prst="rect">
            <a:avLst/>
          </a:prstGeom>
        </p:spPr>
      </p:pic>
      <p:sp>
        <p:nvSpPr>
          <p:cNvPr id="5" name="SmartArt-Platzhalter 4">
            <a:extLst>
              <a:ext uri="{FF2B5EF4-FFF2-40B4-BE49-F238E27FC236}">
                <a16:creationId xmlns:a16="http://schemas.microsoft.com/office/drawing/2014/main" id="{CA3AA816-6B08-4E1B-596D-5822E12D07FA}"/>
              </a:ext>
            </a:extLst>
          </p:cNvPr>
          <p:cNvSpPr>
            <a:spLocks noGrp="1"/>
          </p:cNvSpPr>
          <p:nvPr>
            <p:ph type="dgm" sz="quarter" idx="12" hasCustomPrompt="1"/>
          </p:nvPr>
        </p:nvSpPr>
        <p:spPr>
          <a:xfrm>
            <a:off x="163" y="0"/>
            <a:ext cx="334800" cy="6858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/>
            </a:lvl1pPr>
          </a:lstStyle>
          <a:p>
            <a:r>
              <a:rPr lang="de-DE"/>
              <a:t>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1EC1B9F-E5A1-B9E4-A065-9112EE3A86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DF555F1-79E6-C0F6-879D-2BC67C35B4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DFD2038-649C-DECE-AC7B-0293885F14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3071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 userDrawn="1">
          <p15:clr>
            <a:srgbClr val="FBAE40"/>
          </p15:clr>
        </p15:guide>
        <p15:guide id="2" orient="horz" pos="2766" userDrawn="1">
          <p15:clr>
            <a:srgbClr val="FBAE40"/>
          </p15:clr>
        </p15:guide>
        <p15:guide id="3" orient="horz" pos="3168" userDrawn="1">
          <p15:clr>
            <a:srgbClr val="FBAE40"/>
          </p15:clr>
        </p15:guide>
        <p15:guide id="4" pos="64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>
            <a:extLst>
              <a:ext uri="{FF2B5EF4-FFF2-40B4-BE49-F238E27FC236}">
                <a16:creationId xmlns:a16="http://schemas.microsoft.com/office/drawing/2014/main" id="{37E2E32B-F1BC-CCD2-7609-25304434AE2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3935412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0262" y="247651"/>
            <a:ext cx="6805888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0DEAA59D-4F3D-6336-CA98-4834147DF41E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00262" y="1981200"/>
            <a:ext cx="925200" cy="9252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25461" y="1981200"/>
            <a:ext cx="6631577" cy="925200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0263" y="309322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5463" y="3093222"/>
            <a:ext cx="6631576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0264" y="420524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25463" y="4205244"/>
            <a:ext cx="66315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0265" y="531726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25465" y="5317266"/>
            <a:ext cx="6631574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542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2706" userDrawn="1">
          <p15:clr>
            <a:srgbClr val="FBAE40"/>
          </p15:clr>
        </p15:guide>
        <p15:guide id="4" pos="2479" userDrawn="1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ivider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3040323"/>
            <a:ext cx="9256712" cy="923925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4310001"/>
            <a:ext cx="9256713" cy="1831105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8" name="Google Shape;15;p70">
            <a:extLst>
              <a:ext uri="{FF2B5EF4-FFF2-40B4-BE49-F238E27FC236}">
                <a16:creationId xmlns:a16="http://schemas.microsoft.com/office/drawing/2014/main" id="{2FF9DA51-4F29-E139-A4BB-1EA423A502E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-2103"/>
          <a:stretch/>
        </p:blipFill>
        <p:spPr>
          <a:xfrm>
            <a:off x="9984510" y="1306284"/>
            <a:ext cx="2207490" cy="514454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13;p69">
            <a:extLst>
              <a:ext uri="{FF2B5EF4-FFF2-40B4-BE49-F238E27FC236}">
                <a16:creationId xmlns:a16="http://schemas.microsoft.com/office/drawing/2014/main" id="{6D5E72A5-C27C-4654-55AB-A19E59D2772B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3520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 userDrawn="1">
          <p15:clr>
            <a:srgbClr val="FBAE40"/>
          </p15:clr>
        </p15:guide>
        <p15:guide id="2" orient="horz" pos="275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3040323"/>
            <a:ext cx="9256712" cy="923925"/>
          </a:xfrm>
        </p:spPr>
        <p:txBody>
          <a:bodyPr anchor="b"/>
          <a:lstStyle>
            <a:lvl1pPr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4307760"/>
            <a:ext cx="9256713" cy="1831105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8" name="Google Shape;15;p70">
            <a:extLst>
              <a:ext uri="{FF2B5EF4-FFF2-40B4-BE49-F238E27FC236}">
                <a16:creationId xmlns:a16="http://schemas.microsoft.com/office/drawing/2014/main" id="{2FF9DA51-4F29-E139-A4BB-1EA423A502E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-2103"/>
          <a:stretch/>
        </p:blipFill>
        <p:spPr>
          <a:xfrm>
            <a:off x="9984510" y="1306284"/>
            <a:ext cx="2207490" cy="514454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13;p69">
            <a:extLst>
              <a:ext uri="{FF2B5EF4-FFF2-40B4-BE49-F238E27FC236}">
                <a16:creationId xmlns:a16="http://schemas.microsoft.com/office/drawing/2014/main" id="{E9E6399A-C013-9634-A9C6-3168BE7BC574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7442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7" userDrawn="1">
          <p15:clr>
            <a:srgbClr val="FBAE40"/>
          </p15:clr>
        </p15:guide>
        <p15:guide id="2" orient="horz" pos="275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DB3491E-D5E2-2C71-3815-292112EA87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628775"/>
            <a:ext cx="12192000" cy="4233600"/>
          </a:xfrm>
          <a:solidFill>
            <a:schemeClr val="accent4"/>
          </a:solidFill>
        </p:spPr>
        <p:txBody>
          <a:bodyPr tIns="108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pic>
        <p:nvPicPr>
          <p:cNvPr id="9" name="Google Shape;13;p69">
            <a:extLst>
              <a:ext uri="{FF2B5EF4-FFF2-40B4-BE49-F238E27FC236}">
                <a16:creationId xmlns:a16="http://schemas.microsoft.com/office/drawing/2014/main" id="{B6BB74EA-C8BB-3ABD-0058-76BBE89B4B20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D904EA34-F45A-2469-D879-78361073AC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8081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3" orient="horz" pos="369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1581150"/>
            <a:ext cx="11522075" cy="46561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9586417C-1FC3-A28B-4880-EAFF80380180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8546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3" orient="horz" pos="392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581150"/>
            <a:ext cx="5581650" cy="4656138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0DEAA59D-4F3D-6336-CA98-4834147DF41E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0ADC6DF7-1043-A06F-90E1-CB5E1E900ED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75386" y="1581150"/>
            <a:ext cx="5581650" cy="4656138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3401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4" pos="3953" userDrawn="1">
          <p15:clr>
            <a:srgbClr val="FBAE40"/>
          </p15:clr>
        </p15:guide>
        <p15:guide id="5" orient="horz" pos="392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two columns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581150"/>
            <a:ext cx="5581650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447D4D72-F30B-549A-F5D7-5E7F2B1B233F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122661A-3B4D-3FCF-D4F9-ADBB27E0386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75388" y="1581150"/>
            <a:ext cx="5581650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0177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4" pos="3953" userDrawn="1">
          <p15:clr>
            <a:srgbClr val="FBAE40"/>
          </p15:clr>
        </p15:guide>
        <p15:guide id="5" orient="horz" pos="392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s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5CFB36E2-671E-B349-632F-96F4276B3B09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19467D6-B2E6-16A0-4818-0493BE1ADC8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581150"/>
            <a:ext cx="5581650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065F3A6-2597-EF54-1AC5-756C827B679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75388" y="1581150"/>
            <a:ext cx="5581650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685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4" pos="3953" userDrawn="1">
          <p15:clr>
            <a:srgbClr val="FBAE40"/>
          </p15:clr>
        </p15:guide>
        <p15:guide id="5" orient="horz" pos="392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DB3491E-D5E2-2C71-3815-292112EA87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0"/>
            <a:ext cx="10548000" cy="885133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3" name="Google Shape;13;p69">
            <a:extLst>
              <a:ext uri="{FF2B5EF4-FFF2-40B4-BE49-F238E27FC236}">
                <a16:creationId xmlns:a16="http://schemas.microsoft.com/office/drawing/2014/main" id="{45BFB49C-D28F-6566-790F-198BBF684BF9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89765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3" orient="horz" pos="392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7896225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7199312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67700" y="1581150"/>
            <a:ext cx="3589338" cy="4656138"/>
          </a:xfrm>
        </p:spPr>
        <p:txBody>
          <a:bodyPr numCol="1" spcCol="360000"/>
          <a:lstStyle>
            <a:lvl1pPr>
              <a:buClr>
                <a:schemeClr val="accent5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90D792AF-96AE-D4B1-0F9E-F1B8CEA035D4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37792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4974" userDrawn="1">
          <p15:clr>
            <a:srgbClr val="FBAE40"/>
          </p15:clr>
        </p15:guide>
        <p15:guide id="5" pos="5201" userDrawn="1">
          <p15:clr>
            <a:srgbClr val="FBAE40"/>
          </p15:clr>
        </p15:guide>
        <p15:guide id="6" orient="horz" pos="392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87E935B8-36CB-675C-A71F-5CDD0D010A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50244" y="5687373"/>
            <a:ext cx="1906794" cy="6383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4" y="428625"/>
            <a:ext cx="8382001" cy="3600449"/>
          </a:xfrm>
        </p:spPr>
        <p:txBody>
          <a:bodyPr anchor="b"/>
          <a:lstStyle>
            <a:lvl1pPr>
              <a:defRPr sz="6000">
                <a:solidFill>
                  <a:schemeClr val="bg2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6" name="Google Shape;23;p71">
            <a:extLst>
              <a:ext uri="{FF2B5EF4-FFF2-40B4-BE49-F238E27FC236}">
                <a16:creationId xmlns:a16="http://schemas.microsoft.com/office/drawing/2014/main" id="{E5A7D8A7-B5D3-3237-EF85-9F555F5C2909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9173" y="4324351"/>
            <a:ext cx="8382001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9173" y="4987089"/>
            <a:ext cx="8382002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SmartArt-Platzhalter 4">
            <a:extLst>
              <a:ext uri="{FF2B5EF4-FFF2-40B4-BE49-F238E27FC236}">
                <a16:creationId xmlns:a16="http://schemas.microsoft.com/office/drawing/2014/main" id="{069525C8-9B0E-D85C-18C3-ED348C121878}"/>
              </a:ext>
            </a:extLst>
          </p:cNvPr>
          <p:cNvSpPr>
            <a:spLocks noGrp="1"/>
          </p:cNvSpPr>
          <p:nvPr>
            <p:ph type="dgm" sz="quarter" idx="12" hasCustomPrompt="1"/>
          </p:nvPr>
        </p:nvSpPr>
        <p:spPr>
          <a:xfrm>
            <a:off x="163" y="0"/>
            <a:ext cx="334800" cy="6858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/>
            </a:lvl1pPr>
          </a:lstStyle>
          <a:p>
            <a:r>
              <a:rPr lang="de-DE"/>
              <a:t>.</a:t>
            </a:r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8F921457-CD26-4045-4048-5B5CB9D98F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60EDC90-1D8A-B857-0B0D-585212FB4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D234FCAA-F88F-3EA5-D9E9-19E58E6196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343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 userDrawn="1">
          <p15:clr>
            <a:srgbClr val="FBAE40"/>
          </p15:clr>
        </p15:guide>
        <p15:guide id="2" orient="horz" pos="2766" userDrawn="1">
          <p15:clr>
            <a:srgbClr val="FBAE40"/>
          </p15:clr>
        </p15:guide>
        <p15:guide id="3" orient="horz" pos="3168" userDrawn="1">
          <p15:clr>
            <a:srgbClr val="FBAE40"/>
          </p15:clr>
        </p15:guide>
        <p15:guide id="4" pos="64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295775" y="0"/>
            <a:ext cx="7896225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3600450" cy="1057274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581150"/>
            <a:ext cx="3600450" cy="4656138"/>
          </a:xfrm>
        </p:spPr>
        <p:txBody>
          <a:bodyPr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SmartArt-Platzhalter 7">
            <a:extLst>
              <a:ext uri="{FF2B5EF4-FFF2-40B4-BE49-F238E27FC236}">
                <a16:creationId xmlns:a16="http://schemas.microsoft.com/office/drawing/2014/main" id="{F704C3AB-686E-E41E-AF2B-AAF70DC7AE66}"/>
              </a:ext>
            </a:extLst>
          </p:cNvPr>
          <p:cNvSpPr>
            <a:spLocks noGrp="1" noChangeAspect="1"/>
          </p:cNvSpPr>
          <p:nvPr>
            <p:ph type="dgm" sz="quarter" idx="14" hasCustomPrompt="1"/>
          </p:nvPr>
        </p:nvSpPr>
        <p:spPr>
          <a:xfrm>
            <a:off x="11282787" y="220645"/>
            <a:ext cx="687666" cy="68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4345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orient="horz" pos="392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256588" y="0"/>
            <a:ext cx="3935412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7561262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1581150"/>
            <a:ext cx="7561261" cy="4656138"/>
          </a:xfrm>
        </p:spPr>
        <p:txBody>
          <a:bodyPr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61261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SmartArt-Platzhalter 7">
            <a:extLst>
              <a:ext uri="{FF2B5EF4-FFF2-40B4-BE49-F238E27FC236}">
                <a16:creationId xmlns:a16="http://schemas.microsoft.com/office/drawing/2014/main" id="{F704C3AB-686E-E41E-AF2B-AAF70DC7AE66}"/>
              </a:ext>
            </a:extLst>
          </p:cNvPr>
          <p:cNvSpPr>
            <a:spLocks noGrp="1" noChangeAspect="1"/>
          </p:cNvSpPr>
          <p:nvPr>
            <p:ph type="dgm" sz="quarter" idx="14" hasCustomPrompt="1"/>
          </p:nvPr>
        </p:nvSpPr>
        <p:spPr>
          <a:xfrm>
            <a:off x="11282787" y="220645"/>
            <a:ext cx="687666" cy="68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3738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4974" userDrawn="1">
          <p15:clr>
            <a:srgbClr val="FBAE40"/>
          </p15:clr>
        </p15:guide>
        <p15:guide id="5" pos="5201" userDrawn="1">
          <p15:clr>
            <a:srgbClr val="FBAE40"/>
          </p15:clr>
        </p15:guide>
        <p15:guide id="6" orient="horz" pos="392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935412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774" y="247651"/>
            <a:ext cx="6772276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5775" y="1581150"/>
            <a:ext cx="7561263" cy="4656138"/>
          </a:xfrm>
        </p:spPr>
        <p:txBody>
          <a:bodyPr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F748A0C3-6A34-0BBE-AE95-27E70D2888DC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0009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pos="2479" userDrawn="1">
          <p15:clr>
            <a:srgbClr val="FBAE40"/>
          </p15:clr>
        </p15:guide>
        <p15:guide id="6" orient="horz" pos="392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s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4961" y="2049975"/>
            <a:ext cx="5581651" cy="1871603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3921578"/>
            <a:ext cx="5581651" cy="2315710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F748A0C3-6A34-0BBE-AE95-27E70D2888DC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628775"/>
            <a:ext cx="5581649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F7B8A435-28C1-DC23-A1CE-58444A547DF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75385" y="2049975"/>
            <a:ext cx="5581653" cy="1871603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75386" y="3921578"/>
            <a:ext cx="5581652" cy="2315710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5" y="1628775"/>
            <a:ext cx="5581648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020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3953" userDrawn="1">
          <p15:clr>
            <a:srgbClr val="FBAE40"/>
          </p15:clr>
        </p15:guide>
        <p15:guide id="5" pos="3727" userDrawn="1">
          <p15:clr>
            <a:srgbClr val="FBAE40"/>
          </p15:clr>
        </p15:guide>
        <p15:guide id="6" orient="horz" pos="3929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s 3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0333" y="2049974"/>
            <a:ext cx="35856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 lang="de-DE" dirty="0"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3979573"/>
            <a:ext cx="3585600" cy="2246601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F748A0C3-6A34-0BBE-AE95-27E70D2888DC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0333" y="1628775"/>
            <a:ext cx="35856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F7B8A435-28C1-DC23-A1CE-58444A547DF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03923" y="2049974"/>
            <a:ext cx="35856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03923" y="3979573"/>
            <a:ext cx="35856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3923" y="1628775"/>
            <a:ext cx="35856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069B4014-E50F-06BF-0350-43571999519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267513" y="2049974"/>
            <a:ext cx="35856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67513" y="3979573"/>
            <a:ext cx="35856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7513" y="1628775"/>
            <a:ext cx="35856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9661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2479" userDrawn="1">
          <p15:clr>
            <a:srgbClr val="FBAE40"/>
          </p15:clr>
        </p15:guide>
        <p15:guide id="5" pos="2706" userDrawn="1">
          <p15:clr>
            <a:srgbClr val="FBAE40"/>
          </p15:clr>
        </p15:guide>
        <p15:guide id="6" orient="horz" pos="3929" userDrawn="1">
          <p15:clr>
            <a:srgbClr val="FBAE40"/>
          </p15:clr>
        </p15:guide>
        <p15:guide id="7" pos="4972" userDrawn="1">
          <p15:clr>
            <a:srgbClr val="FBAE40"/>
          </p15:clr>
        </p15:guide>
        <p15:guide id="8" pos="5201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s 4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849C0659-0EFE-A397-7C8B-A742797E8A4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0333" y="2049974"/>
            <a:ext cx="25992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3979573"/>
            <a:ext cx="2599200" cy="2246601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F748A0C3-6A34-0BBE-AE95-27E70D2888DC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0333" y="1628775"/>
            <a:ext cx="25992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F7B8A435-28C1-DC23-A1CE-58444A547DF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11044" y="2049974"/>
            <a:ext cx="25992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  <a:p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311044" y="3979573"/>
            <a:ext cx="25992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1044" y="1628775"/>
            <a:ext cx="25992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069B4014-E50F-06BF-0350-43571999519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1755" y="2049974"/>
            <a:ext cx="25992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81755" y="3979573"/>
            <a:ext cx="25992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1755" y="1628775"/>
            <a:ext cx="25992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30055DA8-CACA-E957-82F8-5DAA9E4BF36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61992" y="2049974"/>
            <a:ext cx="2599200" cy="1929600"/>
          </a:xfrm>
          <a:solidFill>
            <a:schemeClr val="accent4"/>
          </a:solidFill>
        </p:spPr>
        <p:txBody>
          <a:bodyPr tIns="360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B7595895-C288-60E3-BB22-C7D92C2DB78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261992" y="3979573"/>
            <a:ext cx="2599200" cy="2246602"/>
          </a:xfrm>
          <a:solidFill>
            <a:schemeClr val="tx2"/>
          </a:solidFill>
        </p:spPr>
        <p:txBody>
          <a:bodyPr lIns="180000" tIns="144000" rIns="144000" bIns="14400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3A67BA-AAED-0C02-6260-6D0F9C4FDA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61992" y="1628775"/>
            <a:ext cx="2599200" cy="421200"/>
          </a:xfrm>
          <a:solidFill>
            <a:schemeClr val="bg2"/>
          </a:solidFill>
        </p:spPr>
        <p:txBody>
          <a:bodyPr lIns="180000" tIns="0" rIns="144000" bIns="0" anchor="ctr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8274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1851" userDrawn="1">
          <p15:clr>
            <a:srgbClr val="FBAE40"/>
          </p15:clr>
        </p15:guide>
        <p15:guide id="5" pos="2078" userDrawn="1">
          <p15:clr>
            <a:srgbClr val="FBAE40"/>
          </p15:clr>
        </p15:guide>
        <p15:guide id="6" orient="horz" pos="3929" userDrawn="1">
          <p15:clr>
            <a:srgbClr val="FBAE40"/>
          </p15:clr>
        </p15:guide>
        <p15:guide id="7" pos="5602" userDrawn="1">
          <p15:clr>
            <a:srgbClr val="FBAE40"/>
          </p15:clr>
        </p15:guide>
        <p15:guide id="8" pos="5829" userDrawn="1">
          <p15:clr>
            <a:srgbClr val="FBAE40"/>
          </p15:clr>
        </p15:guide>
        <p15:guide id="9" pos="3727" userDrawn="1">
          <p15:clr>
            <a:srgbClr val="FBAE40"/>
          </p15:clr>
        </p15:guide>
        <p15:guide id="10" pos="3953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F748A0C3-6A34-0BBE-AE95-27E70D2888DC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4" y="1579615"/>
            <a:ext cx="5581653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EAFF238-34B7-663E-202E-267B0729DC27}"/>
              </a:ext>
            </a:extLst>
          </p:cNvPr>
          <p:cNvCxnSpPr>
            <a:cxnSpLocks/>
          </p:cNvCxnSpPr>
          <p:nvPr userDrawn="1"/>
        </p:nvCxnSpPr>
        <p:spPr>
          <a:xfrm>
            <a:off x="334963" y="1956621"/>
            <a:ext cx="5593889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1E1F83E-F979-B2CC-EC30-588E807D2B88}"/>
              </a:ext>
            </a:extLst>
          </p:cNvPr>
          <p:cNvCxnSpPr/>
          <p:nvPr userDrawn="1"/>
        </p:nvCxnSpPr>
        <p:spPr>
          <a:xfrm>
            <a:off x="6282147" y="1956621"/>
            <a:ext cx="5574891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A7923848-A47E-478C-DEA5-053E7AB73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579615"/>
            <a:ext cx="5581654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B6445DE-C672-6284-BFCF-69CB90E16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202222"/>
            <a:ext cx="556952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537DC196-8489-8845-7D6C-D29B7D03462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2147" y="2202222"/>
            <a:ext cx="5574891" cy="4035076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254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3953" userDrawn="1">
          <p15:clr>
            <a:srgbClr val="FBAE40"/>
          </p15:clr>
        </p15:guide>
        <p15:guide id="5" pos="3727" userDrawn="1">
          <p15:clr>
            <a:srgbClr val="FBAE40"/>
          </p15:clr>
        </p15:guide>
        <p15:guide id="6" orient="horz" pos="3929" userDrawn="1">
          <p15:clr>
            <a:srgbClr val="FBAE40"/>
          </p15:clr>
        </p15:guide>
        <p15:guide id="7" orient="horz" pos="141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202222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F748A0C3-6A34-0BBE-AE95-27E70D2888DC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579615"/>
            <a:ext cx="359097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303923" y="2202222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3923" y="1579615"/>
            <a:ext cx="358560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67513" y="2202222"/>
            <a:ext cx="35856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7513" y="1579615"/>
            <a:ext cx="3585600" cy="3600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211EE8F2-8BC5-C160-2601-4C6B819D6AB1}"/>
              </a:ext>
            </a:extLst>
          </p:cNvPr>
          <p:cNvCxnSpPr>
            <a:cxnSpLocks/>
          </p:cNvCxnSpPr>
          <p:nvPr userDrawn="1"/>
        </p:nvCxnSpPr>
        <p:spPr>
          <a:xfrm>
            <a:off x="334963" y="1956621"/>
            <a:ext cx="3592565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850CE0DB-B78A-95E4-67F8-A4FA15A45A3C}"/>
              </a:ext>
            </a:extLst>
          </p:cNvPr>
          <p:cNvCxnSpPr>
            <a:cxnSpLocks/>
          </p:cNvCxnSpPr>
          <p:nvPr userDrawn="1"/>
        </p:nvCxnSpPr>
        <p:spPr>
          <a:xfrm>
            <a:off x="4299786" y="1956621"/>
            <a:ext cx="35856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36BC9C76-389B-6968-C37B-35FF7E1447BE}"/>
              </a:ext>
            </a:extLst>
          </p:cNvPr>
          <p:cNvCxnSpPr>
            <a:cxnSpLocks/>
          </p:cNvCxnSpPr>
          <p:nvPr userDrawn="1"/>
        </p:nvCxnSpPr>
        <p:spPr>
          <a:xfrm>
            <a:off x="8257253" y="1956621"/>
            <a:ext cx="35856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8999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2479" userDrawn="1">
          <p15:clr>
            <a:srgbClr val="FBAE40"/>
          </p15:clr>
        </p15:guide>
        <p15:guide id="5" pos="2706" userDrawn="1">
          <p15:clr>
            <a:srgbClr val="FBAE40"/>
          </p15:clr>
        </p15:guide>
        <p15:guide id="6" orient="horz" pos="3922" userDrawn="1">
          <p15:clr>
            <a:srgbClr val="FBAE40"/>
          </p15:clr>
        </p15:guide>
        <p15:guide id="7" pos="4972" userDrawn="1">
          <p15:clr>
            <a:srgbClr val="FBAE40"/>
          </p15:clr>
        </p15:guide>
        <p15:guide id="8" pos="5201" userDrawn="1">
          <p15:clr>
            <a:srgbClr val="FBAE40"/>
          </p15:clr>
        </p15:guide>
        <p15:guide id="9" orient="horz" pos="1412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F748A0C3-6A34-0BBE-AE95-27E70D2888DC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579615"/>
            <a:ext cx="2604570" cy="36158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311044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1044" y="1579615"/>
            <a:ext cx="2599200" cy="36158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81755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1755" y="1579615"/>
            <a:ext cx="2599200" cy="36158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B7595895-C288-60E3-BB22-C7D92C2DB78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261992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3A67BA-AAED-0C02-6260-6D0F9C4FDA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61992" y="1579615"/>
            <a:ext cx="2599200" cy="36158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799C335-DD9F-030A-892C-AC0B34209BF3}"/>
              </a:ext>
            </a:extLst>
          </p:cNvPr>
          <p:cNvCxnSpPr>
            <a:cxnSpLocks/>
          </p:cNvCxnSpPr>
          <p:nvPr userDrawn="1"/>
        </p:nvCxnSpPr>
        <p:spPr>
          <a:xfrm>
            <a:off x="334963" y="1956621"/>
            <a:ext cx="2606164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CC28BA6-3810-CFC3-40DB-8167533D15B6}"/>
              </a:ext>
            </a:extLst>
          </p:cNvPr>
          <p:cNvCxnSpPr>
            <a:cxnSpLocks/>
          </p:cNvCxnSpPr>
          <p:nvPr userDrawn="1"/>
        </p:nvCxnSpPr>
        <p:spPr>
          <a:xfrm>
            <a:off x="3310255" y="1956621"/>
            <a:ext cx="25992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7FDA7F09-80EA-118A-BB63-5968F8DF8258}"/>
              </a:ext>
            </a:extLst>
          </p:cNvPr>
          <p:cNvCxnSpPr>
            <a:cxnSpLocks/>
          </p:cNvCxnSpPr>
          <p:nvPr userDrawn="1"/>
        </p:nvCxnSpPr>
        <p:spPr>
          <a:xfrm>
            <a:off x="6278583" y="1956621"/>
            <a:ext cx="25992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9B3F475E-0032-7BA8-A02C-D56AD22DC108}"/>
              </a:ext>
            </a:extLst>
          </p:cNvPr>
          <p:cNvCxnSpPr>
            <a:cxnSpLocks/>
          </p:cNvCxnSpPr>
          <p:nvPr userDrawn="1"/>
        </p:nvCxnSpPr>
        <p:spPr>
          <a:xfrm>
            <a:off x="9254531" y="1956621"/>
            <a:ext cx="25992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798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1851">
          <p15:clr>
            <a:srgbClr val="FBAE40"/>
          </p15:clr>
        </p15:guide>
        <p15:guide id="5" pos="2078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pos="5602">
          <p15:clr>
            <a:srgbClr val="FBAE40"/>
          </p15:clr>
        </p15:guide>
        <p15:guide id="8" pos="5829">
          <p15:clr>
            <a:srgbClr val="FBAE40"/>
          </p15:clr>
        </p15:guide>
        <p15:guide id="9" pos="3727">
          <p15:clr>
            <a:srgbClr val="FBAE40"/>
          </p15:clr>
        </p15:guide>
        <p15:guide id="10" pos="3953">
          <p15:clr>
            <a:srgbClr val="FBAE40"/>
          </p15:clr>
        </p15:guide>
        <p15:guide id="11" orient="horz" pos="141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column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47651"/>
            <a:ext cx="10411694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333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7" name="Google Shape;13;p69">
            <a:extLst>
              <a:ext uri="{FF2B5EF4-FFF2-40B4-BE49-F238E27FC236}">
                <a16:creationId xmlns:a16="http://schemas.microsoft.com/office/drawing/2014/main" id="{F748A0C3-6A34-0BBE-AE95-27E70D2888DC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579615"/>
            <a:ext cx="2604570" cy="4212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  <a:p>
            <a:pPr lvl="0"/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311044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1044" y="1579615"/>
            <a:ext cx="2599200" cy="4212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6056221C-277B-6B2E-0E97-D14AEA04F06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81755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D0B1ADC-67C1-373F-9E0E-A84458C8DB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1755" y="1579615"/>
            <a:ext cx="2599200" cy="4212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B7595895-C288-60E3-BB22-C7D92C2DB78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261992" y="2202222"/>
            <a:ext cx="2599200" cy="4023953"/>
          </a:xfrm>
          <a:noFill/>
        </p:spPr>
        <p:txBody>
          <a:bodyPr lIns="0" tIns="0" rIns="0" bIns="0" numCol="1" spcCol="360000"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3A67BA-AAED-0C02-6260-6D0F9C4FDA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61992" y="1579615"/>
            <a:ext cx="2599200" cy="421200"/>
          </a:xfrm>
          <a:noFill/>
        </p:spPr>
        <p:txBody>
          <a:bodyPr lIns="0" tIns="0" rIns="0" bIns="0"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8371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4" pos="1851">
          <p15:clr>
            <a:srgbClr val="FBAE40"/>
          </p15:clr>
        </p15:guide>
        <p15:guide id="5" pos="2078">
          <p15:clr>
            <a:srgbClr val="FBAE40"/>
          </p15:clr>
        </p15:guide>
        <p15:guide id="6" orient="horz" pos="3922">
          <p15:clr>
            <a:srgbClr val="FBAE40"/>
          </p15:clr>
        </p15:guide>
        <p15:guide id="7" pos="5602">
          <p15:clr>
            <a:srgbClr val="FBAE40"/>
          </p15:clr>
        </p15:guide>
        <p15:guide id="8" pos="5829">
          <p15:clr>
            <a:srgbClr val="FBAE40"/>
          </p15:clr>
        </p15:guide>
        <p15:guide id="9" pos="3727">
          <p15:clr>
            <a:srgbClr val="FBAE40"/>
          </p15:clr>
        </p15:guide>
        <p15:guide id="10" pos="3953">
          <p15:clr>
            <a:srgbClr val="FBAE40"/>
          </p15:clr>
        </p15:guide>
        <p15:guide id="11" orient="horz" pos="132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9" name="SmartArt-Platzhalter 7">
            <a:extLst>
              <a:ext uri="{FF2B5EF4-FFF2-40B4-BE49-F238E27FC236}">
                <a16:creationId xmlns:a16="http://schemas.microsoft.com/office/drawing/2014/main" id="{238BFC05-CD7C-D8D0-A83C-82A2CE75C560}"/>
              </a:ext>
            </a:extLst>
          </p:cNvPr>
          <p:cNvSpPr>
            <a:spLocks noGrp="1" noChangeAspect="1"/>
          </p:cNvSpPr>
          <p:nvPr>
            <p:ph type="dgm" sz="quarter" idx="14" hasCustomPrompt="1"/>
          </p:nvPr>
        </p:nvSpPr>
        <p:spPr>
          <a:xfrm>
            <a:off x="9950244" y="5681079"/>
            <a:ext cx="1908000" cy="64469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4" y="395967"/>
            <a:ext cx="4683536" cy="3600449"/>
          </a:xfr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9173" y="4324351"/>
            <a:ext cx="8382001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9173" y="4987089"/>
            <a:ext cx="8382002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SmartArt-Platzhalter 4">
            <a:extLst>
              <a:ext uri="{FF2B5EF4-FFF2-40B4-BE49-F238E27FC236}">
                <a16:creationId xmlns:a16="http://schemas.microsoft.com/office/drawing/2014/main" id="{E9945411-B0ED-4BA1-CF28-52F5DE76EFF6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163" y="0"/>
            <a:ext cx="334800" cy="6858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/>
            </a:lvl1pPr>
          </a:lstStyle>
          <a:p>
            <a:r>
              <a:rPr lang="de-DE"/>
              <a:t>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339388-213C-55FD-68AE-4E7C7691E9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CB0D380E-A589-8E65-AC07-4017247BD0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CC2F7F4A-CCE0-455A-4DDA-746A690F78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10" name="Google Shape;23;p71">
            <a:extLst>
              <a:ext uri="{FF2B5EF4-FFF2-40B4-BE49-F238E27FC236}">
                <a16:creationId xmlns:a16="http://schemas.microsoft.com/office/drawing/2014/main" id="{E1A34090-CF67-8E33-C715-5398E0D78BD9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5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8736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 userDrawn="1">
          <p15:clr>
            <a:srgbClr val="FBAE40"/>
          </p15:clr>
        </p15:guide>
        <p15:guide id="2" orient="horz" pos="2766" userDrawn="1">
          <p15:clr>
            <a:srgbClr val="FBAE40"/>
          </p15:clr>
        </p15:guide>
        <p15:guide id="3" orient="horz" pos="3168" userDrawn="1">
          <p15:clr>
            <a:srgbClr val="FBAE40"/>
          </p15:clr>
        </p15:guide>
        <p15:guide id="4" pos="642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628775"/>
            <a:ext cx="11528833" cy="2477125"/>
          </a:xfrm>
        </p:spPr>
        <p:txBody>
          <a:bodyPr anchor="b"/>
          <a:lstStyle>
            <a:lvl1pPr>
              <a:lnSpc>
                <a:spcPct val="100000"/>
              </a:lnSpc>
              <a:defRPr sz="8000">
                <a:solidFill>
                  <a:schemeClr val="accent5"/>
                </a:solidFill>
              </a:defRPr>
            </a:lvl1pPr>
          </a:lstStyle>
          <a:p>
            <a:r>
              <a:rPr lang="en-US"/>
              <a:t>Edit thank you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4854789"/>
            <a:ext cx="5581651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4461963"/>
            <a:ext cx="5581650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82146" y="4854789"/>
            <a:ext cx="5581651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9" y="4461963"/>
            <a:ext cx="5556246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8" name="Google Shape;23;p71">
            <a:extLst>
              <a:ext uri="{FF2B5EF4-FFF2-40B4-BE49-F238E27FC236}">
                <a16:creationId xmlns:a16="http://schemas.microsoft.com/office/drawing/2014/main" id="{322A722B-7E5D-FE21-FABC-590DBDCF0E0D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3622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3953" userDrawn="1">
          <p15:clr>
            <a:srgbClr val="FBAE40"/>
          </p15:clr>
        </p15:guide>
        <p15:guide id="5" pos="3727" userDrawn="1">
          <p15:clr>
            <a:srgbClr val="FBAE40"/>
          </p15:clr>
        </p15:guide>
        <p15:guide id="6" orient="horz" pos="3922" userDrawn="1">
          <p15:clr>
            <a:srgbClr val="FBAE40"/>
          </p15:clr>
        </p15:guide>
        <p15:guide id="7" orient="horz" pos="2432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648652"/>
            <a:ext cx="7524750" cy="2477125"/>
          </a:xfrm>
        </p:spPr>
        <p:txBody>
          <a:bodyPr anchor="t"/>
          <a:lstStyle>
            <a:lvl1pPr>
              <a:lnSpc>
                <a:spcPct val="90000"/>
              </a:lnSpc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Edit thank you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79909" y="2230733"/>
            <a:ext cx="3577130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79908" y="1837907"/>
            <a:ext cx="3577129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279908" y="4569039"/>
            <a:ext cx="3593483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2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3147" y="4176213"/>
            <a:ext cx="3577129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8" name="Google Shape;23;p71">
            <a:extLst>
              <a:ext uri="{FF2B5EF4-FFF2-40B4-BE49-F238E27FC236}">
                <a16:creationId xmlns:a16="http://schemas.microsoft.com/office/drawing/2014/main" id="{2C47FFA4-8C89-8058-E35C-3D622D3979F1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62220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  <p15:guide id="2" orient="horz" pos="1094" userDrawn="1">
          <p15:clr>
            <a:srgbClr val="FBAE40"/>
          </p15:clr>
        </p15:guide>
        <p15:guide id="4" pos="4951" userDrawn="1">
          <p15:clr>
            <a:srgbClr val="FBAE40"/>
          </p15:clr>
        </p15:guide>
        <p15:guide id="5" pos="5201" userDrawn="1">
          <p15:clr>
            <a:srgbClr val="FBAE40"/>
          </p15:clr>
        </p15:guide>
        <p15:guide id="6" orient="horz" pos="3922" userDrawn="1">
          <p15:clr>
            <a:srgbClr val="FBAE40"/>
          </p15:clr>
        </p15:guide>
        <p15:guide id="7" orient="horz" pos="1185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08;p99">
            <a:extLst>
              <a:ext uri="{FF2B5EF4-FFF2-40B4-BE49-F238E27FC236}">
                <a16:creationId xmlns:a16="http://schemas.microsoft.com/office/drawing/2014/main" id="{A7A6A8A9-8B3A-132B-6B0A-EA98C0EB8F61}"/>
              </a:ext>
            </a:extLst>
          </p:cNvPr>
          <p:cNvSpPr/>
          <p:nvPr userDrawn="1"/>
        </p:nvSpPr>
        <p:spPr>
          <a:xfrm>
            <a:off x="1" y="2806995"/>
            <a:ext cx="12192000" cy="4051004"/>
          </a:xfrm>
          <a:prstGeom prst="rect">
            <a:avLst/>
          </a:prstGeom>
          <a:solidFill>
            <a:srgbClr val="0B25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209;p99">
            <a:extLst>
              <a:ext uri="{FF2B5EF4-FFF2-40B4-BE49-F238E27FC236}">
                <a16:creationId xmlns:a16="http://schemas.microsoft.com/office/drawing/2014/main" id="{9BE903ED-03BC-932A-0D57-500C76D88DF6}"/>
              </a:ext>
            </a:extLst>
          </p:cNvPr>
          <p:cNvSpPr/>
          <p:nvPr userDrawn="1"/>
        </p:nvSpPr>
        <p:spPr>
          <a:xfrm>
            <a:off x="0" y="0"/>
            <a:ext cx="8273147" cy="57964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801053"/>
            <a:ext cx="4741117" cy="3105244"/>
          </a:xfrm>
        </p:spPr>
        <p:txBody>
          <a:bodyPr anchor="t"/>
          <a:lstStyle>
            <a:lvl1pPr>
              <a:lnSpc>
                <a:spcPct val="90000"/>
              </a:lnSpc>
              <a:defRPr sz="4800">
                <a:solidFill>
                  <a:schemeClr val="accent5"/>
                </a:solidFill>
              </a:defRPr>
            </a:lvl1pPr>
          </a:lstStyle>
          <a:p>
            <a:r>
              <a:rPr lang="en-US"/>
              <a:t>Edit thank you by click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2DB283-A143-4618-9231-E5A3BD4D9E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70038" y="4307183"/>
            <a:ext cx="2389675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86663" cy="3443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DFBAC9D-7134-7369-163D-9A315D12DC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70037" y="3914357"/>
            <a:ext cx="2389676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6018D78-F3C3-E2F9-6AE6-EE3227D8F0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632333" y="4307183"/>
            <a:ext cx="2390400" cy="1371386"/>
          </a:xfrm>
          <a:noFill/>
        </p:spPr>
        <p:txBody>
          <a:bodyPr lIns="0" tIns="0" rIns="0" bIns="0" numCol="1" spcCol="360000" anchor="t"/>
          <a:lstStyle>
            <a:lvl1pPr marL="0" indent="0">
              <a:buClr>
                <a:schemeClr val="bg2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info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endParaRPr lang="de-DE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5A6D2D80-90AE-5DE4-CED6-F7FB3B27BA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25573" y="3914357"/>
            <a:ext cx="2390400" cy="360000"/>
          </a:xfrm>
          <a:noFill/>
        </p:spPr>
        <p:txBody>
          <a:bodyPr lIns="0" tIns="0" rIns="0" bIns="0"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3289C77C-157D-C999-4ACF-A0C21FAC5F9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48300" y="0"/>
            <a:ext cx="4741117" cy="3609816"/>
          </a:xfrm>
          <a:solidFill>
            <a:schemeClr val="accent4"/>
          </a:solidFill>
        </p:spPr>
        <p:txBody>
          <a:bodyPr tIns="864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pic>
        <p:nvPicPr>
          <p:cNvPr id="16" name="Google Shape;23;p71">
            <a:extLst>
              <a:ext uri="{FF2B5EF4-FFF2-40B4-BE49-F238E27FC236}">
                <a16:creationId xmlns:a16="http://schemas.microsoft.com/office/drawing/2014/main" id="{3AF66D69-9B8A-7133-A3BA-0E188AAF75B2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421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4951" userDrawn="1">
          <p15:clr>
            <a:srgbClr val="FBAE40"/>
          </p15:clr>
        </p15:guide>
        <p15:guide id="5" pos="3432" userDrawn="1">
          <p15:clr>
            <a:srgbClr val="FBAE40"/>
          </p15:clr>
        </p15:guide>
        <p15:guide id="6" orient="horz" pos="2500" userDrawn="1">
          <p15:clr>
            <a:srgbClr val="FBAE40"/>
          </p15:clr>
        </p15:guide>
        <p15:guide id="7" orient="horz" pos="1185" userDrawn="1">
          <p15:clr>
            <a:srgbClr val="FBAE40"/>
          </p15:clr>
        </p15:guide>
        <p15:guide id="8" pos="5428" userDrawn="1">
          <p15:clr>
            <a:srgbClr val="FBAE40"/>
          </p15:clr>
        </p15:guide>
        <p15:guide id="9" orient="horz" pos="3929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0DEAA59D-4F3D-6336-CA98-4834147DF41E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41395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,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447D4D72-F30B-549A-F5D7-5E7F2B1B233F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89358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,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5CFB36E2-671E-B349-632F-96F4276B3B09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70010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7920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69052" y="1959429"/>
            <a:ext cx="3589192" cy="2026101"/>
          </a:xfrm>
        </p:spPr>
        <p:txBody>
          <a:bodyPr anchor="b"/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69052" y="4324351"/>
            <a:ext cx="3587986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69051" y="4987089"/>
            <a:ext cx="3587987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3" name="Google Shape;23;p71">
            <a:extLst>
              <a:ext uri="{FF2B5EF4-FFF2-40B4-BE49-F238E27FC236}">
                <a16:creationId xmlns:a16="http://schemas.microsoft.com/office/drawing/2014/main" id="{811343E8-39A0-4FA8-1F77-48DE85B116A6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ADF4C855-CE3B-D58A-6E71-B6BF601BD7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44150" y="5819253"/>
            <a:ext cx="1512888" cy="506517"/>
          </a:xfrm>
          <a:prstGeom prst="rect">
            <a:avLst/>
          </a:prstGeom>
        </p:spPr>
      </p:pic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6E05FB29-DAA7-3540-92CC-CF2AE7EE07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F362831-C9F9-B243-7141-57E0408857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1EA96D7-9FD9-E049-C430-AE6014F1E9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2648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 userDrawn="1">
          <p15:clr>
            <a:srgbClr val="FBAE40"/>
          </p15:clr>
        </p15:guide>
        <p15:guide id="2" orient="horz" pos="2766" userDrawn="1">
          <p15:clr>
            <a:srgbClr val="FBAE40"/>
          </p15:clr>
        </p15:guide>
        <p15:guide id="3" orient="horz" pos="3168" userDrawn="1">
          <p15:clr>
            <a:srgbClr val="FBAE40"/>
          </p15:clr>
        </p15:guide>
        <p15:guide id="4" pos="642" userDrawn="1">
          <p15:clr>
            <a:srgbClr val="FBAE40"/>
          </p15:clr>
        </p15:guide>
        <p15:guide id="5" pos="520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7920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69052" y="1959429"/>
            <a:ext cx="3589192" cy="2026101"/>
          </a:xfrm>
        </p:spPr>
        <p:txBody>
          <a:bodyPr anchor="b"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69052" y="4324351"/>
            <a:ext cx="3587986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69051" y="4987089"/>
            <a:ext cx="3587987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pic>
        <p:nvPicPr>
          <p:cNvPr id="3" name="Google Shape;23;p71">
            <a:extLst>
              <a:ext uri="{FF2B5EF4-FFF2-40B4-BE49-F238E27FC236}">
                <a16:creationId xmlns:a16="http://schemas.microsoft.com/office/drawing/2014/main" id="{811343E8-39A0-4FA8-1F77-48DE85B116A6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ADF4C855-CE3B-D58A-6E71-B6BF601BD7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44151" y="5819253"/>
            <a:ext cx="1512886" cy="506517"/>
          </a:xfrm>
          <a:prstGeom prst="rect">
            <a:avLst/>
          </a:prstGeom>
        </p:spPr>
      </p:pic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D0D8F0A5-F24B-9140-BE57-B5D7C76601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0787A4B-0E4A-E959-197A-97E5E6C8F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8C060BC-F353-2EBE-8C88-9B696B7E2C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2149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 userDrawn="1">
          <p15:clr>
            <a:srgbClr val="FBAE40"/>
          </p15:clr>
        </p15:guide>
        <p15:guide id="2" orient="horz" pos="2766" userDrawn="1">
          <p15:clr>
            <a:srgbClr val="FBAE40"/>
          </p15:clr>
        </p15:guide>
        <p15:guide id="3" orient="horz" pos="3168" userDrawn="1">
          <p15:clr>
            <a:srgbClr val="FBAE40"/>
          </p15:clr>
        </p15:guide>
        <p15:guide id="4" pos="642" userDrawn="1">
          <p15:clr>
            <a:srgbClr val="FBAE40"/>
          </p15:clr>
        </p15:guide>
        <p15:guide id="5" pos="520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333375"/>
            <a:ext cx="4320000" cy="6191250"/>
          </a:xfrm>
          <a:solidFill>
            <a:schemeClr val="bg1"/>
          </a:solidFill>
        </p:spPr>
        <p:txBody>
          <a:bodyPr lIns="360000" rIns="324000" bIns="2556000" anchor="b"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6" y="4324351"/>
            <a:ext cx="3600450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4987089"/>
            <a:ext cx="3600450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8" name="SmartArt-Platzhalter 7">
            <a:extLst>
              <a:ext uri="{FF2B5EF4-FFF2-40B4-BE49-F238E27FC236}">
                <a16:creationId xmlns:a16="http://schemas.microsoft.com/office/drawing/2014/main" id="{2D98343A-34B6-C421-A0C1-520DF9FE62A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gm" sz="quarter" idx="13" hasCustomPrompt="1"/>
          </p:nvPr>
        </p:nvSpPr>
        <p:spPr>
          <a:xfrm>
            <a:off x="3102258" y="454143"/>
            <a:ext cx="1440000" cy="143986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de-DE"/>
              <a:t>.l</a:t>
            </a:r>
          </a:p>
        </p:txBody>
      </p:sp>
      <p:sp>
        <p:nvSpPr>
          <p:cNvPr id="9" name="SmartArt-Platzhalter 7">
            <a:extLst>
              <a:ext uri="{FF2B5EF4-FFF2-40B4-BE49-F238E27FC236}">
                <a16:creationId xmlns:a16="http://schemas.microsoft.com/office/drawing/2014/main" id="{238BFC05-CD7C-D8D0-A83C-82A2CE75C560}"/>
              </a:ext>
            </a:extLst>
          </p:cNvPr>
          <p:cNvSpPr>
            <a:spLocks noGrp="1" noChangeAspect="1"/>
          </p:cNvSpPr>
          <p:nvPr>
            <p:ph type="dgm" sz="quarter" idx="14" hasCustomPrompt="1"/>
          </p:nvPr>
        </p:nvSpPr>
        <p:spPr>
          <a:xfrm>
            <a:off x="2783939" y="5705659"/>
            <a:ext cx="1512000" cy="510887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83260693-9DBE-4B9A-408C-77C03B952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8E682EC2-ABA0-1194-C510-65C61BCE0A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95C1CB7-4D99-6B9C-F2A6-6DB5E664CF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9619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 userDrawn="1">
          <p15:clr>
            <a:srgbClr val="FBAE40"/>
          </p15:clr>
        </p15:guide>
        <p15:guide id="2" orient="horz" pos="2766" userDrawn="1">
          <p15:clr>
            <a:srgbClr val="FBAE40"/>
          </p15:clr>
        </p15:guide>
        <p15:guide id="3" orient="horz" pos="3168" userDrawn="1">
          <p15:clr>
            <a:srgbClr val="FBAE40"/>
          </p15:clr>
        </p15:guide>
        <p15:guide id="4" pos="438" userDrawn="1">
          <p15:clr>
            <a:srgbClr val="FBAE40"/>
          </p15:clr>
        </p15:guide>
        <p15:guide id="5" pos="2706" userDrawn="1">
          <p15:clr>
            <a:srgbClr val="FBAE40"/>
          </p15:clr>
        </p15:guide>
        <p15:guide id="6" orient="horz" pos="436" userDrawn="1">
          <p15:clr>
            <a:srgbClr val="FBAE40"/>
          </p15:clr>
        </p15:guide>
        <p15:guide id="7" orient="horz" pos="388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3C420C2-3B11-9DE8-860D-76ED1BD5F04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4"/>
          </a:solid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image by clicking on symbol</a:t>
            </a: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C67E0B-0A7D-47FA-BA0B-DBA8FA079D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333375"/>
            <a:ext cx="4320000" cy="6191250"/>
          </a:xfrm>
          <a:solidFill>
            <a:schemeClr val="bg2"/>
          </a:solidFill>
        </p:spPr>
        <p:txBody>
          <a:bodyPr lIns="360000" rIns="324000" bIns="2556000" anchor="b"/>
          <a:lstStyle>
            <a:lvl1pPr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presentation</a:t>
            </a:r>
            <a:r>
              <a:rPr lang="de-DE"/>
              <a:t> titl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7F830AC-32A0-F2EA-3883-39257A341C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6" y="4324351"/>
            <a:ext cx="3600450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subheadlin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9287341-9DC7-4CBC-3A39-476934923B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4987089"/>
            <a:ext cx="3600450" cy="5524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place</a:t>
            </a:r>
            <a:r>
              <a:rPr lang="de-DE"/>
              <a:t> / date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8" name="SmartArt-Platzhalter 7">
            <a:extLst>
              <a:ext uri="{FF2B5EF4-FFF2-40B4-BE49-F238E27FC236}">
                <a16:creationId xmlns:a16="http://schemas.microsoft.com/office/drawing/2014/main" id="{2D98343A-34B6-C421-A0C1-520DF9FE62A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gm" sz="quarter" idx="13" hasCustomPrompt="1"/>
          </p:nvPr>
        </p:nvSpPr>
        <p:spPr>
          <a:xfrm>
            <a:off x="3102258" y="454143"/>
            <a:ext cx="1440000" cy="143986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9" name="SmartArt-Platzhalter 7">
            <a:extLst>
              <a:ext uri="{FF2B5EF4-FFF2-40B4-BE49-F238E27FC236}">
                <a16:creationId xmlns:a16="http://schemas.microsoft.com/office/drawing/2014/main" id="{238BFC05-CD7C-D8D0-A83C-82A2CE75C560}"/>
              </a:ext>
            </a:extLst>
          </p:cNvPr>
          <p:cNvSpPr>
            <a:spLocks noGrp="1" noChangeAspect="1"/>
          </p:cNvSpPr>
          <p:nvPr>
            <p:ph type="dgm" sz="quarter" idx="14" hasCustomPrompt="1"/>
          </p:nvPr>
        </p:nvSpPr>
        <p:spPr>
          <a:xfrm>
            <a:off x="2783939" y="5705659"/>
            <a:ext cx="1512000" cy="510887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de-DE"/>
              <a:t>.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BD3618F6-C643-8F13-3C9C-2A1F4AFDF5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70343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E6EAEF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00B41359-49EE-6D13-8D83-9A89977AF4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70343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rgbClr val="E6EAEF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F68EC99-C33A-9EB9-4E4E-657202F90E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70343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E6EAEF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7562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 userDrawn="1">
          <p15:clr>
            <a:srgbClr val="FBAE40"/>
          </p15:clr>
        </p15:guide>
        <p15:guide id="2" orient="horz" pos="2766" userDrawn="1">
          <p15:clr>
            <a:srgbClr val="FBAE40"/>
          </p15:clr>
        </p15:guide>
        <p15:guide id="3" orient="horz" pos="3168" userDrawn="1">
          <p15:clr>
            <a:srgbClr val="FBAE40"/>
          </p15:clr>
        </p15:guide>
        <p15:guide id="4" pos="438" userDrawn="1">
          <p15:clr>
            <a:srgbClr val="FBAE40"/>
          </p15:clr>
        </p15:guide>
        <p15:guide id="5" pos="2706" userDrawn="1">
          <p15:clr>
            <a:srgbClr val="FBAE40"/>
          </p15:clr>
        </p15:guide>
        <p15:guide id="6" orient="horz" pos="436" userDrawn="1">
          <p15:clr>
            <a:srgbClr val="FBAE40"/>
          </p15:clr>
        </p15:guide>
        <p15:guide id="7" orient="horz" pos="388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0DEAA59D-4F3D-6336-CA98-4834147DF41E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1981200"/>
            <a:ext cx="925200" cy="9252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0162" y="1981200"/>
            <a:ext cx="10596875" cy="925200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309322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163" y="3093222"/>
            <a:ext cx="105968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5" y="420524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164" y="4205244"/>
            <a:ext cx="105968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6" y="531726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165" y="5317266"/>
            <a:ext cx="10596875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8894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6AE806-D305-9CDC-E109-7DEA64D4B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47651"/>
            <a:ext cx="10548000" cy="890176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260EAD-1D8C-7881-8090-A19531C9A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081423-8457-FEAE-D2DD-22D11A3C9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3283D5-2D37-5CB2-BFC1-769094261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‹#›</a:t>
            </a:fld>
            <a:endParaRPr lang="de-DE"/>
          </a:p>
        </p:txBody>
      </p:sp>
      <p:pic>
        <p:nvPicPr>
          <p:cNvPr id="8" name="Google Shape;13;p69">
            <a:extLst>
              <a:ext uri="{FF2B5EF4-FFF2-40B4-BE49-F238E27FC236}">
                <a16:creationId xmlns:a16="http://schemas.microsoft.com/office/drawing/2014/main" id="{0DEAA59D-4F3D-6336-CA98-4834147DF41E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1283302" y="219394"/>
            <a:ext cx="688354" cy="68835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292B57-8A02-D048-972D-515426D6BF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1981200"/>
            <a:ext cx="925200" cy="9252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B10A4E7-10FA-01ED-C880-89349B48F7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0162" y="1981200"/>
            <a:ext cx="4656451" cy="925200"/>
          </a:xfrm>
          <a:solidFill>
            <a:schemeClr val="bg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B7B29E2-69B3-222F-21C3-E1EF7943C8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309322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BB74957-0173-855A-6EA4-1B495E733C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164" y="3093222"/>
            <a:ext cx="4656450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C683F0-267E-02D4-6432-0371E554F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5" y="420524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D72DA4BF-B0A3-645E-2BB1-F802DACE81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164" y="4205244"/>
            <a:ext cx="4656449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37D069A-DD31-6FD2-2333-E94C78AAB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6" y="531726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A299986-D032-25A6-A53B-9D3098C5ED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166" y="5317266"/>
            <a:ext cx="4656448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DF7CCE4F-2D78-693F-4BF0-D2E4C05170B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383" y="1981200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99E73818-F167-0FA5-985D-E3EE2DCBAF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582" y="1981200"/>
            <a:ext cx="4656451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5EB17123-7A99-2852-EAF6-2DA870C949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384" y="3093222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704C1B3-AE43-7E61-77E3-F7D2FE714A0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584" y="3093222"/>
            <a:ext cx="4656450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2E300710-2A2F-D5B5-0705-C51E0830B5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385" y="4205244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1A0C3BB-3431-4593-EB32-AE0B49B39C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0584" y="4205244"/>
            <a:ext cx="4656449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F4A5AE8-944B-5529-2056-2073F08E6F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75386" y="5317266"/>
            <a:ext cx="925200" cy="9252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2BC1A3FA-77DE-DA32-1D65-BE47DF91DC2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00586" y="5317266"/>
            <a:ext cx="4656448" cy="925200"/>
          </a:xfrm>
          <a:solidFill>
            <a:schemeClr val="tx2"/>
          </a:solidFill>
        </p:spPr>
        <p:txBody>
          <a:bodyPr lIns="180000" anchor="ctr"/>
          <a:lstStyle>
            <a:lvl1pPr marL="0" indent="0" algn="l"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agenda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8583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pos="3727">
          <p15:clr>
            <a:srgbClr val="FBAE40"/>
          </p15:clr>
        </p15:guide>
        <p15:guide id="4" pos="3953">
          <p15:clr>
            <a:srgbClr val="FBAE40"/>
          </p15:clr>
        </p15:guide>
        <p15:guide id="5" orient="horz" pos="392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8E47D0F-C19D-133A-B142-E47FB23FF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33375"/>
            <a:ext cx="11522075" cy="9239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Edit headline by clicking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183384-8CAE-CD51-C60D-AC14A28A59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400175"/>
            <a:ext cx="11522075" cy="47767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copy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DC3A09C-862D-826C-584F-E643EF143D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1885" y="6513665"/>
            <a:ext cx="897194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YYYY-MM-DD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5F6B7C-EC59-C38E-BC7D-88954ADE5C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3" y="6513665"/>
            <a:ext cx="9615281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F6863B-06F1-CB5D-CB3C-68CA0D282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252" y="6513665"/>
            <a:ext cx="441786" cy="3443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888F065A-EFAC-409A-9F56-D24A0EB303A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B9DB49CE-4576-7DCF-ADBF-F4306F5F7385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F2EFED"/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152224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91" r:id="rId8"/>
    <p:sldLayoutId id="2147483693" r:id="rId9"/>
    <p:sldLayoutId id="2147483692" r:id="rId10"/>
    <p:sldLayoutId id="2147483667" r:id="rId11"/>
    <p:sldLayoutId id="2147483668" r:id="rId12"/>
    <p:sldLayoutId id="2147483650" r:id="rId13"/>
    <p:sldLayoutId id="2147483669" r:id="rId14"/>
    <p:sldLayoutId id="2147483670" r:id="rId15"/>
    <p:sldLayoutId id="2147483671" r:id="rId16"/>
    <p:sldLayoutId id="2147483672" r:id="rId17"/>
    <p:sldLayoutId id="2147483673" r:id="rId18"/>
    <p:sldLayoutId id="2147483674" r:id="rId19"/>
    <p:sldLayoutId id="2147483675" r:id="rId20"/>
    <p:sldLayoutId id="2147483677" r:id="rId21"/>
    <p:sldLayoutId id="2147483676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90" r:id="rId29"/>
    <p:sldLayoutId id="2147483684" r:id="rId30"/>
    <p:sldLayoutId id="2147483685" r:id="rId31"/>
    <p:sldLayoutId id="2147483686" r:id="rId32"/>
    <p:sldLayoutId id="2147483687" r:id="rId33"/>
    <p:sldLayoutId id="2147483688" r:id="rId34"/>
    <p:sldLayoutId id="2147483689" r:id="rId3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2" pos="211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orient="horz" pos="41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gif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gif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tuvsud" TargetMode="External"/><Relationship Id="rId3" Type="http://schemas.openxmlformats.org/officeDocument/2006/relationships/image" Target="../media/image39.png"/><Relationship Id="rId7" Type="http://schemas.openxmlformats.org/officeDocument/2006/relationships/image" Target="../media/image42.svg"/><Relationship Id="rId12" Type="http://schemas.openxmlformats.org/officeDocument/2006/relationships/image" Target="../media/image45.png"/><Relationship Id="rId2" Type="http://schemas.openxmlformats.org/officeDocument/2006/relationships/hyperlink" Target="https://www.instagram.com/tuvsud/" TargetMode="Externa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1.png"/><Relationship Id="rId11" Type="http://schemas.openxmlformats.org/officeDocument/2006/relationships/hyperlink" Target="mailto:info@tuvsud.com" TargetMode="External"/><Relationship Id="rId5" Type="http://schemas.openxmlformats.org/officeDocument/2006/relationships/hyperlink" Target="https://www.linkedin.com/company/tuvsud/" TargetMode="External"/><Relationship Id="rId10" Type="http://schemas.openxmlformats.org/officeDocument/2006/relationships/image" Target="../media/image44.svg"/><Relationship Id="rId4" Type="http://schemas.openxmlformats.org/officeDocument/2006/relationships/image" Target="../media/image40.svg"/><Relationship Id="rId9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sv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svg"/></Relationships>
</file>

<file path=ppt/slides/_rels/slide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CCA2_C86F2C08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svg"/><Relationship Id="rId7" Type="http://schemas.openxmlformats.org/officeDocument/2006/relationships/image" Target="../media/image29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11" Type="http://schemas.openxmlformats.org/officeDocument/2006/relationships/image" Target="../media/image33.svg"/><Relationship Id="rId5" Type="http://schemas.openxmlformats.org/officeDocument/2006/relationships/image" Target="../media/image27.sv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A40E29-2757-A63A-0067-AAA1EBA037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Interior of server room">
            <a:extLst>
              <a:ext uri="{FF2B5EF4-FFF2-40B4-BE49-F238E27FC236}">
                <a16:creationId xmlns:a16="http://schemas.microsoft.com/office/drawing/2014/main" id="{4DC8255F-31DF-BB10-5299-E0AD058CC23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41" b="7841"/>
          <a:stretch/>
        </p:blipFill>
        <p:spPr/>
      </p:pic>
      <p:sp>
        <p:nvSpPr>
          <p:cNvPr id="10" name="Google Shape;6081;p45">
            <a:extLst>
              <a:ext uri="{FF2B5EF4-FFF2-40B4-BE49-F238E27FC236}">
                <a16:creationId xmlns:a16="http://schemas.microsoft.com/office/drawing/2014/main" id="{C26BF274-D869-FE93-1055-013417C3511F}"/>
              </a:ext>
            </a:extLst>
          </p:cNvPr>
          <p:cNvSpPr/>
          <p:nvPr/>
        </p:nvSpPr>
        <p:spPr>
          <a:xfrm>
            <a:off x="-1" y="0"/>
            <a:ext cx="5295901" cy="6858000"/>
          </a:xfrm>
          <a:prstGeom prst="rect">
            <a:avLst/>
          </a:prstGeom>
          <a:gradFill>
            <a:gsLst>
              <a:gs pos="0">
                <a:srgbClr val="000000">
                  <a:alpha val="89803"/>
                </a:srgbClr>
              </a:gs>
              <a:gs pos="47000">
                <a:srgbClr val="05121C">
                  <a:alpha val="72941"/>
                </a:srgbClr>
              </a:gs>
              <a:gs pos="100000">
                <a:srgbClr val="0B253B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14983D6-1D45-F1D8-E2E3-4BBC3A57C7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4" y="427717"/>
            <a:ext cx="4683536" cy="3600449"/>
          </a:xfrm>
        </p:spPr>
        <p:txBody>
          <a:bodyPr/>
          <a:lstStyle/>
          <a:p>
            <a:r>
              <a:rPr lang="de-DE" sz="6000">
                <a:solidFill>
                  <a:schemeClr val="accent5"/>
                </a:solidFill>
              </a:rPr>
              <a:t>Cloud and Edge Computing </a:t>
            </a:r>
          </a:p>
        </p:txBody>
      </p:sp>
      <p:pic>
        <p:nvPicPr>
          <p:cNvPr id="3" name="Google Shape;23;p71">
            <a:extLst>
              <a:ext uri="{FF2B5EF4-FFF2-40B4-BE49-F238E27FC236}">
                <a16:creationId xmlns:a16="http://schemas.microsoft.com/office/drawing/2014/main" id="{F602939C-685C-C6CE-2BA0-ACAF8FFBE931}"/>
              </a:ext>
            </a:extLst>
          </p:cNvPr>
          <p:cNvPicPr preferRelativeResize="0"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56000" y="104724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13947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9DA4A9-EFBE-38BB-A4DA-4C60CBEBB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7595C0-18F1-2D9B-89EA-77834E71F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42900"/>
            <a:ext cx="10548000" cy="1039660"/>
          </a:xfrm>
        </p:spPr>
        <p:txBody>
          <a:bodyPr/>
          <a:lstStyle/>
          <a:p>
            <a:r>
              <a:rPr lang="en-US" dirty="0">
                <a:latin typeface="+mn-lt"/>
              </a:rPr>
              <a:t>Cloud Service Models</a:t>
            </a:r>
            <a:endParaRPr lang="de-DE" dirty="0">
              <a:latin typeface="+mn-lt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4D93CDC-75F4-ADFA-8C83-45D7D053B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t>10</a:t>
            </a:fld>
            <a:endParaRPr lang="de-DE"/>
          </a:p>
        </p:txBody>
      </p:sp>
      <p:pic>
        <p:nvPicPr>
          <p:cNvPr id="6" name="Image 7" descr="preencoded.png">
            <a:extLst>
              <a:ext uri="{FF2B5EF4-FFF2-40B4-BE49-F238E27FC236}">
                <a16:creationId xmlns:a16="http://schemas.microsoft.com/office/drawing/2014/main" id="{0E90F7C9-716A-9B51-D81A-AF6152C0A1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0202" y="2233327"/>
            <a:ext cx="7033581" cy="2557666"/>
          </a:xfrm>
          <a:prstGeom prst="rect">
            <a:avLst/>
          </a:prstGeom>
        </p:spPr>
      </p:pic>
      <p:sp>
        <p:nvSpPr>
          <p:cNvPr id="7" name="Datumsplatzhalter 4">
            <a:extLst>
              <a:ext uri="{FF2B5EF4-FFF2-40B4-BE49-F238E27FC236}">
                <a16:creationId xmlns:a16="http://schemas.microsoft.com/office/drawing/2014/main" id="{1D65F1E6-FD00-F69A-93B0-24ABC718B2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21078" y="6513665"/>
            <a:ext cx="1718001" cy="344335"/>
          </a:xfrm>
        </p:spPr>
        <p:txBody>
          <a:bodyPr/>
          <a:lstStyle/>
          <a:p>
            <a:pPr algn="r">
              <a:defRPr/>
            </a:pPr>
            <a:r>
              <a:rPr lang="de-DE"/>
              <a:t>2025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F506B7E0-79AE-2D1F-742B-141EFB66D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61261" cy="344335"/>
          </a:xfrm>
        </p:spPr>
        <p:txBody>
          <a:bodyPr/>
          <a:lstStyle/>
          <a:p>
            <a:pPr lvl="0">
              <a:defRPr/>
            </a:pPr>
            <a:r>
              <a:rPr lang="en-US">
                <a:solidFill>
                  <a:schemeClr val="tx1">
                    <a:lumMod val="95000"/>
                    <a:lumOff val="5000"/>
                  </a:schemeClr>
                </a:solidFill>
              </a:rPr>
              <a:t>Module: Fundamentals of Cloud &amp; Edge Compu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592386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45796-4892-17C9-FE51-66EEF681D9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oud Service Models: IaaS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4B05AE-8B1B-9031-B1DA-3204B019A7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581150"/>
            <a:ext cx="6481473" cy="4656138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rgbClr val="00469D"/>
                </a:solidFill>
                <a:ea typeface="Arial" pitchFamily="34" charset="-122"/>
                <a:cs typeface="Arial" pitchFamily="34" charset="-120"/>
              </a:rPr>
              <a:t>Infrastructure as a Service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/>
              <a:t>IaaS provides remote computing resources over the internet.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The provider manages the physical infrastructure (servers, storage, networking) while the customer controls operating systems, applications, and configurations.</a:t>
            </a:r>
          </a:p>
          <a:p>
            <a:pPr marL="177800" lvl="1" indent="0">
              <a:lnSpc>
                <a:spcPct val="150000"/>
              </a:lnSpc>
              <a:buNone/>
            </a:pPr>
            <a:endParaRPr lang="en-US" dirty="0"/>
          </a:p>
          <a:p>
            <a:pPr marL="177800" lvl="1" indent="0">
              <a:lnSpc>
                <a:spcPct val="150000"/>
              </a:lnSpc>
              <a:buNone/>
            </a:pPr>
            <a:r>
              <a:rPr lang="en-US" b="1" dirty="0">
                <a:solidFill>
                  <a:srgbClr val="00469D"/>
                </a:solidFill>
                <a:cs typeface="Arial" pitchFamily="34" charset="-120"/>
              </a:rPr>
              <a:t>Example Services</a:t>
            </a:r>
          </a:p>
          <a:p>
            <a:pPr marL="285750" indent="-285750">
              <a:lnSpc>
                <a:spcPct val="150000"/>
              </a:lnSpc>
            </a:pPr>
            <a:r>
              <a:rPr lang="en-US" dirty="0"/>
              <a:t>AWS EC2</a:t>
            </a:r>
          </a:p>
          <a:p>
            <a:pPr marL="285750" indent="-285750">
              <a:lnSpc>
                <a:spcPct val="150000"/>
              </a:lnSpc>
            </a:pPr>
            <a:r>
              <a:rPr lang="en-US" dirty="0"/>
              <a:t>Google Cloud Compute Engine</a:t>
            </a:r>
          </a:p>
          <a:p>
            <a:pPr marL="285750" indent="-285750">
              <a:lnSpc>
                <a:spcPct val="150000"/>
              </a:lnSpc>
            </a:pPr>
            <a:r>
              <a:rPr lang="en-US" dirty="0"/>
              <a:t>Azure VMs</a:t>
            </a:r>
          </a:p>
          <a:p>
            <a:pPr marL="177800" lvl="1" indent="0">
              <a:lnSpc>
                <a:spcPct val="150000"/>
              </a:lnSpc>
              <a:buNone/>
            </a:pPr>
            <a:endParaRPr lang="en-US" dirty="0"/>
          </a:p>
          <a:p>
            <a:endParaRPr lang="en-IN" dirty="0"/>
          </a:p>
          <a:p>
            <a:pPr marL="0" indent="0">
              <a:buNone/>
            </a:pP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62C365-3826-2F4C-20B5-7A1B08D24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96DC45-2FF4-4C89-9DE2-0FE8FDE5D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9F2A32-350A-D866-C160-B3793BF73F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11</a:t>
            </a:fld>
            <a:endParaRPr lang="de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E69BDE2-99CD-56BE-A807-C4F27F886E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4768" y="827808"/>
            <a:ext cx="5782541" cy="5782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5476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6F33DE-3D29-2AA9-561B-8D9390F58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58C2B-67C0-4660-B11B-F8C147C6B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Service Models: PaaS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C5FED2-276F-701B-F735-63F1F739DF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581150"/>
            <a:ext cx="7894637" cy="4656138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rgbClr val="00469D"/>
                </a:solidFill>
                <a:ea typeface="Arial" pitchFamily="34" charset="-122"/>
                <a:cs typeface="Arial" pitchFamily="34" charset="-120"/>
              </a:rPr>
              <a:t>Platform as a Service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/>
              <a:t>PaaS offers a complete development platform where customers can create, deploy, and manage applications without focusing on infrastructure complexities.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The provider takes care of hardware, operating systems, and middleware, letting customers concentrate solely on building their applications.</a:t>
            </a:r>
          </a:p>
          <a:p>
            <a:pPr lvl="1">
              <a:lnSpc>
                <a:spcPct val="150000"/>
              </a:lnSpc>
            </a:pPr>
            <a:endParaRPr lang="en-US" dirty="0"/>
          </a:p>
          <a:p>
            <a:pPr marL="177800" lvl="1" indent="0">
              <a:lnSpc>
                <a:spcPct val="150000"/>
              </a:lnSpc>
              <a:buNone/>
            </a:pPr>
            <a:r>
              <a:rPr lang="en-US" b="1" dirty="0">
                <a:solidFill>
                  <a:srgbClr val="00469D"/>
                </a:solidFill>
                <a:cs typeface="Arial" pitchFamily="34" charset="-120"/>
              </a:rPr>
              <a:t>Example Services</a:t>
            </a:r>
          </a:p>
          <a:p>
            <a:pPr marL="285750" indent="-285750">
              <a:lnSpc>
                <a:spcPct val="150000"/>
              </a:lnSpc>
            </a:pPr>
            <a:r>
              <a:rPr lang="en-US" dirty="0"/>
              <a:t>AWS Beanstalk</a:t>
            </a:r>
          </a:p>
          <a:p>
            <a:pPr marL="285750" indent="-285750">
              <a:lnSpc>
                <a:spcPct val="150000"/>
              </a:lnSpc>
            </a:pPr>
            <a:r>
              <a:rPr lang="en-US" dirty="0"/>
              <a:t>Google Cloud App Engine</a:t>
            </a:r>
          </a:p>
          <a:p>
            <a:pPr marL="285750" indent="-285750">
              <a:lnSpc>
                <a:spcPct val="150000"/>
              </a:lnSpc>
            </a:pPr>
            <a:r>
              <a:rPr lang="en-US" dirty="0"/>
              <a:t>Azure App Service</a:t>
            </a:r>
          </a:p>
          <a:p>
            <a:pPr marL="177800" lvl="1" indent="0">
              <a:lnSpc>
                <a:spcPct val="150000"/>
              </a:lnSpc>
              <a:buNone/>
            </a:pPr>
            <a:endParaRPr lang="en-US" dirty="0"/>
          </a:p>
          <a:p>
            <a:endParaRPr lang="en-IN" dirty="0"/>
          </a:p>
          <a:p>
            <a:pPr marL="0" indent="0">
              <a:buNone/>
            </a:pP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FD88C2-3C6E-0C94-6987-430346AD61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D7CF42-D84C-9233-14C2-85AC191366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F157C2-FA33-F247-B99B-33FED2BFF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12</a:t>
            </a:fld>
            <a:endParaRPr lang="de-D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63F3CD-D7CD-50B9-7816-CA514F9640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8464" y="2618225"/>
            <a:ext cx="4023559" cy="345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3659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CE552-FBC7-D7EF-BA2A-4A750794CD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D62D5-ADA3-2866-4A60-70880EA0B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Service Models: SaaS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BDC4A3-0418-9F95-3BB3-3C5D5D4DA5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581150"/>
            <a:ext cx="7894637" cy="4656138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rgbClr val="00469D"/>
                </a:solidFill>
                <a:ea typeface="Arial" pitchFamily="34" charset="-122"/>
                <a:cs typeface="Arial" pitchFamily="34" charset="-120"/>
              </a:rPr>
              <a:t>Software as a Service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/>
              <a:t>SaaS offers remote software/applications services basis on subscription.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The provider manages everything: infrastructure, platform, and application.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Users simply access the software via a web browser, without needing to install, maintain, or upgrade anything.</a:t>
            </a:r>
          </a:p>
          <a:p>
            <a:pPr lvl="1">
              <a:lnSpc>
                <a:spcPct val="150000"/>
              </a:lnSpc>
            </a:pPr>
            <a:endParaRPr lang="en-US" dirty="0"/>
          </a:p>
          <a:p>
            <a:pPr marL="177800" lvl="1" indent="0">
              <a:lnSpc>
                <a:spcPct val="150000"/>
              </a:lnSpc>
              <a:buNone/>
            </a:pPr>
            <a:r>
              <a:rPr lang="en-US" b="1" dirty="0">
                <a:solidFill>
                  <a:srgbClr val="00469D"/>
                </a:solidFill>
                <a:cs typeface="Arial" pitchFamily="34" charset="-120"/>
              </a:rPr>
              <a:t>Example Services</a:t>
            </a:r>
          </a:p>
          <a:p>
            <a:pPr marL="285750" indent="-285750">
              <a:lnSpc>
                <a:spcPct val="150000"/>
              </a:lnSpc>
            </a:pPr>
            <a:r>
              <a:rPr lang="en-US" dirty="0"/>
              <a:t>Microsoft 365</a:t>
            </a:r>
          </a:p>
          <a:p>
            <a:pPr marL="285750" indent="-285750">
              <a:lnSpc>
                <a:spcPct val="150000"/>
              </a:lnSpc>
            </a:pPr>
            <a:r>
              <a:rPr lang="en-US" dirty="0"/>
              <a:t>Google Workspace</a:t>
            </a:r>
          </a:p>
          <a:p>
            <a:pPr marL="285750" indent="-285750">
              <a:lnSpc>
                <a:spcPct val="150000"/>
              </a:lnSpc>
            </a:pPr>
            <a:r>
              <a:rPr lang="en-US" dirty="0"/>
              <a:t>AWS Supply Chain</a:t>
            </a:r>
          </a:p>
          <a:p>
            <a:endParaRPr lang="en-IN" dirty="0"/>
          </a:p>
          <a:p>
            <a:pPr marL="0" indent="0">
              <a:buNone/>
            </a:pP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5D766A-2106-8B61-C315-5AE99E76EB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247D38-A65D-96EF-5639-72B7B75AF7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CA6073-D115-2920-93AE-84250BC356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13</a:t>
            </a:fld>
            <a:endParaRPr lang="de-DE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1F3BBFA-B163-4D9F-B138-2E542B9628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2482" y="1653872"/>
            <a:ext cx="4510694" cy="451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9183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863C3-15AD-EDED-880F-1BE461998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Service Models: Comparison</a:t>
            </a:r>
            <a:endParaRPr lang="en-IN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DA25DCDD-F7AB-ED07-1906-7572065F02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27666486"/>
              </p:ext>
            </p:extLst>
          </p:nvPr>
        </p:nvGraphicFramePr>
        <p:xfrm>
          <a:off x="334962" y="1412032"/>
          <a:ext cx="11522076" cy="4204993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3840692">
                  <a:extLst>
                    <a:ext uri="{9D8B030D-6E8A-4147-A177-3AD203B41FA5}">
                      <a16:colId xmlns:a16="http://schemas.microsoft.com/office/drawing/2014/main" val="925084848"/>
                    </a:ext>
                  </a:extLst>
                </a:gridCol>
                <a:gridCol w="3840692">
                  <a:extLst>
                    <a:ext uri="{9D8B030D-6E8A-4147-A177-3AD203B41FA5}">
                      <a16:colId xmlns:a16="http://schemas.microsoft.com/office/drawing/2014/main" val="2122526516"/>
                    </a:ext>
                  </a:extLst>
                </a:gridCol>
                <a:gridCol w="3840692">
                  <a:extLst>
                    <a:ext uri="{9D8B030D-6E8A-4147-A177-3AD203B41FA5}">
                      <a16:colId xmlns:a16="http://schemas.microsoft.com/office/drawing/2014/main" val="1863497287"/>
                    </a:ext>
                  </a:extLst>
                </a:gridCol>
              </a:tblGrid>
              <a:tr h="672799">
                <a:tc>
                  <a:txBody>
                    <a:bodyPr/>
                    <a:lstStyle/>
                    <a:p>
                      <a:r>
                        <a:rPr lang="en-IN" sz="1800"/>
                        <a:t>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800"/>
                        <a:t>What It Off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800"/>
                        <a:t>Example (Manufacturing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6000515"/>
                  </a:ext>
                </a:extLst>
              </a:tr>
              <a:tr h="1177398">
                <a:tc>
                  <a:txBody>
                    <a:bodyPr/>
                    <a:lstStyle/>
                    <a:p>
                      <a:r>
                        <a:rPr lang="en-IN" sz="1800" b="1"/>
                        <a:t>IaaS</a:t>
                      </a:r>
                      <a:r>
                        <a:rPr lang="en-IN" sz="1800"/>
                        <a:t> (Infrastructure as a Servic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Raw computing resources like virtual machines and storage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800"/>
                        <a:t>Hosting SCADA system backup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81553690"/>
                  </a:ext>
                </a:extLst>
              </a:tr>
              <a:tr h="1177398">
                <a:tc>
                  <a:txBody>
                    <a:bodyPr/>
                    <a:lstStyle/>
                    <a:p>
                      <a:r>
                        <a:rPr lang="en-IN" sz="1800" b="1"/>
                        <a:t>PaaS</a:t>
                      </a:r>
                      <a:r>
                        <a:rPr lang="en-IN" sz="1800"/>
                        <a:t> (Platform as a Servic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Development platform and environment in the cloud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Deploying predictive maintenance ML model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2724843"/>
                  </a:ext>
                </a:extLst>
              </a:tr>
              <a:tr h="1177398">
                <a:tc>
                  <a:txBody>
                    <a:bodyPr/>
                    <a:lstStyle/>
                    <a:p>
                      <a:r>
                        <a:rPr lang="en-IN" sz="1800" b="1"/>
                        <a:t>SaaS</a:t>
                      </a:r>
                      <a:r>
                        <a:rPr lang="en-IN" sz="1800"/>
                        <a:t> (Software as a Servic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Fully managed software accessible via web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Using Salesforce for vendor communication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37498179"/>
                  </a:ext>
                </a:extLst>
              </a:tr>
            </a:tbl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6FB64F-3D0D-9F5C-D141-F414262EE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C92F60-B27A-6C91-B6A3-4A28D98C1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D47E2B-8A4D-0EE8-AB33-C51990A34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75362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671131D-BB35-E659-889E-2358D23F93E8}"/>
              </a:ext>
            </a:extLst>
          </p:cNvPr>
          <p:cNvSpPr/>
          <p:nvPr/>
        </p:nvSpPr>
        <p:spPr>
          <a:xfrm>
            <a:off x="0" y="0"/>
            <a:ext cx="5493327" cy="6858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0D30BE-B645-FABF-885E-4874F2E29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ase Study</a:t>
            </a:r>
            <a:br>
              <a:rPr lang="en-IN" dirty="0"/>
            </a:br>
            <a:r>
              <a:rPr lang="en-IN" b="0" dirty="0"/>
              <a:t>Audi on AW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7A75C7-8516-4DCA-3031-4D274DE5D9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2105890"/>
            <a:ext cx="4320164" cy="2299855"/>
          </a:xfrm>
        </p:spPr>
        <p:txBody>
          <a:bodyPr/>
          <a:lstStyle/>
          <a:p>
            <a:pPr marL="0" indent="0">
              <a:buNone/>
            </a:pPr>
            <a:r>
              <a:rPr lang="en-IN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llenge</a:t>
            </a:r>
          </a:p>
          <a:p>
            <a:r>
              <a:rPr lang="en-US" dirty="0"/>
              <a:t>Audi’s online car configurator ran as a monolithic app on-premises, requiring overprovisioned servers to handle traffic spikes. </a:t>
            </a:r>
          </a:p>
          <a:p>
            <a:endParaRPr lang="en-US" dirty="0"/>
          </a:p>
          <a:p>
            <a:r>
              <a:rPr lang="en-US" dirty="0"/>
              <a:t>Deploying new environments in-house took days to weeks.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D24BE7-A0FE-0442-4601-589A0DFC7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C6850F-6302-14D6-C18B-D10300930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741127-25D0-C4A6-30AC-3C9F4E6FD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15</a:t>
            </a:fld>
            <a:endParaRPr lang="de-DE"/>
          </a:p>
        </p:txBody>
      </p:sp>
      <p:pic>
        <p:nvPicPr>
          <p:cNvPr id="8194" name="Picture 2" descr="Audi logo 1183 by 658">
            <a:extLst>
              <a:ext uri="{FF2B5EF4-FFF2-40B4-BE49-F238E27FC236}">
                <a16:creationId xmlns:a16="http://schemas.microsoft.com/office/drawing/2014/main" id="{24F6C4B9-9061-45A4-6FCF-282934EAF8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034" y="181937"/>
            <a:ext cx="2692255" cy="1497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07B104D-8A91-0C8D-1BA9-A6EEDE382757}"/>
              </a:ext>
            </a:extLst>
          </p:cNvPr>
          <p:cNvSpPr txBox="1"/>
          <p:nvPr/>
        </p:nvSpPr>
        <p:spPr>
          <a:xfrm>
            <a:off x="5664055" y="2105890"/>
            <a:ext cx="6040908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lution</a:t>
            </a:r>
          </a:p>
          <a:p>
            <a:pPr marL="180000" indent="-18000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Migrated to AWS EC2, automated provisioning via Terraform</a:t>
            </a:r>
          </a:p>
          <a:p>
            <a:pPr marL="180000" indent="-18000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600" dirty="0"/>
          </a:p>
          <a:p>
            <a:pPr marL="180000" indent="-18000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Adopted Kubernetes with containers, enabling blue/green and microservices deployments</a:t>
            </a:r>
          </a:p>
          <a:p>
            <a:pPr marL="180000" indent="-18000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600" dirty="0"/>
          </a:p>
          <a:p>
            <a:pPr marL="180000" indent="-18000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Deployed </a:t>
            </a:r>
            <a:r>
              <a:rPr lang="en-IN" sz="1600" dirty="0" err="1"/>
              <a:t>Karpenter</a:t>
            </a:r>
            <a:r>
              <a:rPr lang="en-IN" sz="1600" dirty="0"/>
              <a:t> to auto-scale multi-architecture EC2 instances, including Graviton-based workload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8818E2-85B4-3F69-3ECF-BCC5096B9606}"/>
              </a:ext>
            </a:extLst>
          </p:cNvPr>
          <p:cNvSpPr txBox="1"/>
          <p:nvPr/>
        </p:nvSpPr>
        <p:spPr>
          <a:xfrm>
            <a:off x="334963" y="5703563"/>
            <a:ext cx="495054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100" dirty="0"/>
              <a:t>Reference: https://aws.amazon.com/solutions/case-studies/audi-efficient-compute-case-study/</a:t>
            </a:r>
          </a:p>
        </p:txBody>
      </p:sp>
    </p:spTree>
    <p:extLst>
      <p:ext uri="{BB962C8B-B14F-4D97-AF65-F5344CB8AC3E}">
        <p14:creationId xmlns:p14="http://schemas.microsoft.com/office/powerpoint/2010/main" val="11681533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01AB2C-498E-7401-3EE3-A51B465762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34E5BD9-2AA6-6CF4-D744-1351C0F8DFF2}"/>
              </a:ext>
            </a:extLst>
          </p:cNvPr>
          <p:cNvSpPr/>
          <p:nvPr/>
        </p:nvSpPr>
        <p:spPr>
          <a:xfrm>
            <a:off x="0" y="0"/>
            <a:ext cx="5493327" cy="6858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txBody>
          <a:bodyPr spcFirstLastPara="1" wrap="square" lIns="72000" tIns="72000" rIns="72000" bIns="72000" rtlCol="0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IN" sz="12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90F722-4454-F275-18FB-1AEB454DE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ase Study</a:t>
            </a:r>
            <a:br>
              <a:rPr lang="en-IN" dirty="0"/>
            </a:br>
            <a:r>
              <a:rPr lang="en-IN" b="0" dirty="0"/>
              <a:t>Audi on AW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B38C71-E43C-02A2-56AD-AD1D767F57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2105890"/>
            <a:ext cx="4320164" cy="2299855"/>
          </a:xfrm>
        </p:spPr>
        <p:txBody>
          <a:bodyPr/>
          <a:lstStyle/>
          <a:p>
            <a:pPr marL="0" indent="0">
              <a:buNone/>
            </a:pPr>
            <a:r>
              <a:rPr lang="en-IN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llenge</a:t>
            </a:r>
          </a:p>
          <a:p>
            <a:r>
              <a:rPr lang="en-US" dirty="0"/>
              <a:t>Audi’s online car configurator ran as a monolithic app on-premises, requiring overprovisioned servers to handle traffic spikes. </a:t>
            </a:r>
          </a:p>
          <a:p>
            <a:endParaRPr lang="en-US" dirty="0"/>
          </a:p>
          <a:p>
            <a:r>
              <a:rPr lang="en-US" dirty="0"/>
              <a:t>Deploying new environments in-house took days to weeks.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C982CA-B9B9-5F86-F429-67D81232A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521950-D3B2-5399-373B-CCED82AD9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9678C-ADA6-9B90-5789-FA9A75CC3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16</a:t>
            </a:fld>
            <a:endParaRPr lang="de-DE"/>
          </a:p>
        </p:txBody>
      </p:sp>
      <p:pic>
        <p:nvPicPr>
          <p:cNvPr id="8194" name="Picture 2" descr="Audi logo 1183 by 658">
            <a:extLst>
              <a:ext uri="{FF2B5EF4-FFF2-40B4-BE49-F238E27FC236}">
                <a16:creationId xmlns:a16="http://schemas.microsoft.com/office/drawing/2014/main" id="{60898A8B-768D-6C97-B9D9-772A31A3C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034" y="181937"/>
            <a:ext cx="2692255" cy="1497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1DB33B2-B713-7F2C-0459-E2D061B30478}"/>
              </a:ext>
            </a:extLst>
          </p:cNvPr>
          <p:cNvSpPr txBox="1"/>
          <p:nvPr/>
        </p:nvSpPr>
        <p:spPr>
          <a:xfrm>
            <a:off x="5664055" y="2105890"/>
            <a:ext cx="6040908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IN" b="1" dirty="0"/>
              <a:t>AWS Services Used</a:t>
            </a:r>
          </a:p>
          <a:p>
            <a:pPr>
              <a:buNone/>
            </a:pPr>
            <a:endParaRPr lang="en-IN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1" dirty="0"/>
              <a:t>Amazon EC2</a:t>
            </a:r>
            <a:r>
              <a:rPr lang="en-IN" sz="1600" dirty="0"/>
              <a:t> (including Graviton processor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1" dirty="0"/>
              <a:t>Terraform</a:t>
            </a:r>
            <a:r>
              <a:rPr lang="en-IN" sz="1600" dirty="0"/>
              <a:t> &amp; </a:t>
            </a:r>
            <a:r>
              <a:rPr lang="en-IN" sz="1600" b="1" dirty="0"/>
              <a:t>AWS CloudFormation</a:t>
            </a:r>
            <a:r>
              <a:rPr lang="en-IN" sz="1600" dirty="0"/>
              <a:t> (</a:t>
            </a:r>
            <a:r>
              <a:rPr lang="en-IN" sz="1600" dirty="0" err="1"/>
              <a:t>IaC</a:t>
            </a:r>
            <a:r>
              <a:rPr lang="en-IN" sz="1600" dirty="0"/>
              <a:t> tool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1" dirty="0"/>
              <a:t>Amazon EKS</a:t>
            </a:r>
            <a:r>
              <a:rPr lang="en-IN" sz="1600" dirty="0"/>
              <a:t> + </a:t>
            </a:r>
            <a:r>
              <a:rPr lang="en-IN" sz="1600" b="1" dirty="0" err="1"/>
              <a:t>Karpenter</a:t>
            </a:r>
            <a:r>
              <a:rPr lang="en-IN" sz="1600" dirty="0"/>
              <a:t> (container orchestration &amp; node scaling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A64BCC5-D24A-09BA-B44D-70E0034CFFE2}"/>
              </a:ext>
            </a:extLst>
          </p:cNvPr>
          <p:cNvSpPr txBox="1"/>
          <p:nvPr/>
        </p:nvSpPr>
        <p:spPr>
          <a:xfrm>
            <a:off x="5608963" y="4709887"/>
            <a:ext cx="609600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utco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⬇️ 63% compute cost savings</a:t>
            </a:r>
            <a:r>
              <a:rPr lang="en-US" sz="1600" dirty="0"/>
              <a:t> by using Graviton, Spot, Reserved, and On‑Demand insta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⏱️ 20% faster startup times</a:t>
            </a:r>
            <a:r>
              <a:rPr lang="en-US" sz="1600" dirty="0"/>
              <a:t>, improving responsiveness globall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5D810C-E84B-3E9C-4552-013DCA9DA6F2}"/>
              </a:ext>
            </a:extLst>
          </p:cNvPr>
          <p:cNvSpPr txBox="1"/>
          <p:nvPr/>
        </p:nvSpPr>
        <p:spPr>
          <a:xfrm>
            <a:off x="334963" y="5703563"/>
            <a:ext cx="495054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100" dirty="0"/>
              <a:t>Reference: https://aws.amazon.com/solutions/case-studies/audi-efficient-compute-case-study/</a:t>
            </a:r>
          </a:p>
        </p:txBody>
      </p:sp>
    </p:spTree>
    <p:extLst>
      <p:ext uri="{BB962C8B-B14F-4D97-AF65-F5344CB8AC3E}">
        <p14:creationId xmlns:p14="http://schemas.microsoft.com/office/powerpoint/2010/main" val="42028995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223;p112">
            <a:extLst>
              <a:ext uri="{FF2B5EF4-FFF2-40B4-BE49-F238E27FC236}">
                <a16:creationId xmlns:a16="http://schemas.microsoft.com/office/drawing/2014/main" id="{B76CECBB-F302-DC01-BE3C-B7ECF1EC3FC7}"/>
              </a:ext>
            </a:extLst>
          </p:cNvPr>
          <p:cNvSpPr/>
          <p:nvPr/>
        </p:nvSpPr>
        <p:spPr>
          <a:xfrm>
            <a:off x="1" y="2796721"/>
            <a:ext cx="12192000" cy="4051004"/>
          </a:xfrm>
          <a:prstGeom prst="rect">
            <a:avLst/>
          </a:prstGeom>
          <a:solidFill>
            <a:srgbClr val="0B25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06D07D5-D58E-5443-A2F5-1D5DADF31395}"/>
              </a:ext>
            </a:extLst>
          </p:cNvPr>
          <p:cNvGrpSpPr/>
          <p:nvPr/>
        </p:nvGrpSpPr>
        <p:grpSpPr>
          <a:xfrm>
            <a:off x="9192621" y="5452968"/>
            <a:ext cx="1109472" cy="304800"/>
            <a:chOff x="5879399" y="4847042"/>
            <a:chExt cx="1109472" cy="304800"/>
          </a:xfrm>
        </p:grpSpPr>
        <p:pic>
          <p:nvPicPr>
            <p:cNvPr id="12" name="Grafik 11">
              <a:hlinkClick r:id="rId2"/>
              <a:extLst>
                <a:ext uri="{FF2B5EF4-FFF2-40B4-BE49-F238E27FC236}">
                  <a16:creationId xmlns:a16="http://schemas.microsoft.com/office/drawing/2014/main" id="{C6F80ABB-2391-F5C4-C739-4F1E7D2E6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275385" y="4847042"/>
              <a:ext cx="304800" cy="304800"/>
            </a:xfrm>
            <a:prstGeom prst="rect">
              <a:avLst/>
            </a:prstGeom>
          </p:spPr>
        </p:pic>
        <p:pic>
          <p:nvPicPr>
            <p:cNvPr id="13" name="Grafik 12">
              <a:hlinkClick r:id="rId5"/>
              <a:extLst>
                <a:ext uri="{FF2B5EF4-FFF2-40B4-BE49-F238E27FC236}">
                  <a16:creationId xmlns:a16="http://schemas.microsoft.com/office/drawing/2014/main" id="{DF9D82D2-FA02-7F5D-BE6C-66A2A45E26A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79399" y="4847042"/>
              <a:ext cx="304800" cy="304800"/>
            </a:xfrm>
            <a:prstGeom prst="rect">
              <a:avLst/>
            </a:prstGeom>
          </p:spPr>
        </p:pic>
        <p:pic>
          <p:nvPicPr>
            <p:cNvPr id="14" name="Grafik 13">
              <a:hlinkClick r:id="rId8"/>
              <a:extLst>
                <a:ext uri="{FF2B5EF4-FFF2-40B4-BE49-F238E27FC236}">
                  <a16:creationId xmlns:a16="http://schemas.microsoft.com/office/drawing/2014/main" id="{B46FA36E-4D4F-0023-9011-4B48A12C9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671371" y="4847042"/>
              <a:ext cx="317500" cy="304800"/>
            </a:xfrm>
            <a:prstGeom prst="rect">
              <a:avLst/>
            </a:prstGeom>
          </p:spPr>
        </p:pic>
      </p:grpSp>
      <p:sp>
        <p:nvSpPr>
          <p:cNvPr id="18" name="Google Shape;224;p112">
            <a:extLst>
              <a:ext uri="{FF2B5EF4-FFF2-40B4-BE49-F238E27FC236}">
                <a16:creationId xmlns:a16="http://schemas.microsoft.com/office/drawing/2014/main" id="{7E4F50FC-4853-1AAC-AA78-CEF8C568DF25}"/>
              </a:ext>
            </a:extLst>
          </p:cNvPr>
          <p:cNvSpPr/>
          <p:nvPr/>
        </p:nvSpPr>
        <p:spPr>
          <a:xfrm>
            <a:off x="0" y="0"/>
            <a:ext cx="8832850" cy="57964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6E05483-A5DF-58EA-2FCF-EC4B2F9AB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648652"/>
            <a:ext cx="6036340" cy="2477125"/>
          </a:xfrm>
        </p:spPr>
        <p:txBody>
          <a:bodyPr/>
          <a:lstStyle/>
          <a:p>
            <a:r>
              <a:rPr lang="de-DE" sz="4800">
                <a:latin typeface="Arial Nova Light" panose="020B0304020202020204" pitchFamily="34" charset="0"/>
              </a:rPr>
              <a:t>Thank you</a:t>
            </a:r>
            <a:br>
              <a:rPr lang="de-DE" sz="4800" b="1" i="0">
                <a:solidFill>
                  <a:srgbClr val="02ECA6"/>
                </a:solidFill>
                <a:latin typeface="Arial Nova Light" panose="020B0304020202020204" pitchFamily="34" charset="0"/>
                <a:ea typeface="Arial"/>
                <a:cs typeface="Arial"/>
                <a:sym typeface="Arial"/>
              </a:rPr>
            </a:br>
            <a:endParaRPr lang="de-DE" sz="4800">
              <a:latin typeface="Arial Nova Light" panose="020B03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C923CA3-795A-818D-969D-FAA0F3D7B9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3494" y="3621794"/>
            <a:ext cx="2633544" cy="1371386"/>
          </a:xfrm>
        </p:spPr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>
                <a:srgbClr val="0046AD"/>
              </a:buClr>
              <a:buSzPts val="1080"/>
              <a:buFont typeface="Arial"/>
              <a:buNone/>
            </a:pPr>
            <a:r>
              <a:rPr lang="de-DE" sz="1200" b="1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br>
              <a:rPr lang="de-DE" sz="12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de-DE" sz="12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osition</a:t>
            </a:r>
            <a:endParaRPr lang="de-DE"/>
          </a:p>
          <a:p>
            <a:pPr marL="0" marR="0" lvl="0" indent="0" algn="l" rtl="0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>
                <a:srgbClr val="0046AD"/>
              </a:buClr>
              <a:buSzPts val="1080"/>
              <a:buFont typeface="Arial"/>
              <a:buNone/>
            </a:pPr>
            <a:r>
              <a:rPr lang="de-DE" sz="12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mail: lorem.ipsum@tuvsud.com</a:t>
            </a:r>
            <a:endParaRPr lang="de-DE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AD"/>
              </a:buClr>
              <a:buSzPts val="1080"/>
              <a:buFont typeface="Arial"/>
              <a:buNone/>
            </a:pPr>
            <a:r>
              <a:rPr lang="de-DE" sz="12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hone: +XX XXX XXXXXX</a:t>
            </a:r>
            <a:endParaRPr lang="de-DE"/>
          </a:p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D87C0C-B669-ED85-8175-AF69673F1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/>
              <a:pPr/>
              <a:t>17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1C5FC2-68E3-53B2-2D28-023C6D04F0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23494" y="3228968"/>
            <a:ext cx="2633544" cy="360000"/>
          </a:xfrm>
        </p:spPr>
        <p:txBody>
          <a:bodyPr/>
          <a:lstStyle/>
          <a:p>
            <a:r>
              <a:rPr lang="da-DK"/>
              <a:t>Lorem ipsum dolor sit:</a:t>
            </a:r>
          </a:p>
          <a:p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C5B42E6E-9285-304B-7633-FFB0E25C2A8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223494" y="5870071"/>
            <a:ext cx="2640306" cy="419503"/>
          </a:xfr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uvsud.com  </a:t>
            </a:r>
            <a:endParaRPr lang="de-DE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b="0" i="0" u="sng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tuvsud.com</a:t>
            </a:r>
            <a:r>
              <a:rPr lang="de-DE" sz="12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0ED6F56-42AD-AA86-21C6-0986D8881C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16733" y="5071161"/>
            <a:ext cx="2640306" cy="360000"/>
          </a:xfr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600" b="1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ollow </a:t>
            </a:r>
            <a:r>
              <a:rPr lang="de-DE" sz="1600" b="1" i="0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us</a:t>
            </a:r>
            <a:r>
              <a:rPr lang="de-DE" sz="1600" b="1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on:</a:t>
            </a:r>
            <a:endParaRPr lang="de-DE" sz="160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" name="Google Shape;226;p112">
            <a:extLst>
              <a:ext uri="{FF2B5EF4-FFF2-40B4-BE49-F238E27FC236}">
                <a16:creationId xmlns:a16="http://schemas.microsoft.com/office/drawing/2014/main" id="{447CBC46-C3EF-5558-040C-774C552C16A2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 t="-2103"/>
          <a:stretch/>
        </p:blipFill>
        <p:spPr>
          <a:xfrm>
            <a:off x="8408960" y="2276872"/>
            <a:ext cx="409560" cy="357072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Datumsplatzhalter 4">
            <a:extLst>
              <a:ext uri="{FF2B5EF4-FFF2-40B4-BE49-F238E27FC236}">
                <a16:creationId xmlns:a16="http://schemas.microsoft.com/office/drawing/2014/main" id="{3A713A12-E9D8-A1E5-E5EF-0BBAF757CC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21078" y="6513665"/>
            <a:ext cx="1718001" cy="344335"/>
          </a:xfrm>
        </p:spPr>
        <p:txBody>
          <a:bodyPr/>
          <a:lstStyle/>
          <a:p>
            <a:pPr algn="r"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2025</a:t>
            </a:r>
          </a:p>
        </p:txBody>
      </p:sp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E245DB21-43A1-B505-1703-6FC5AA3D1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963" y="6513665"/>
            <a:ext cx="7561261" cy="344335"/>
          </a:xfrm>
        </p:spPr>
        <p:txBody>
          <a:bodyPr/>
          <a:lstStyle/>
          <a:p>
            <a:pPr lvl="0">
              <a:defRPr/>
            </a:pPr>
            <a:r>
              <a:rPr lang="en-US">
                <a:latin typeface="Arial Nova Light" panose="020B0304020202020204" pitchFamily="34" charset="0"/>
              </a:rPr>
              <a:t>Module: Cloud and Edge Computing </a:t>
            </a:r>
          </a:p>
        </p:txBody>
      </p:sp>
    </p:spTree>
    <p:extLst>
      <p:ext uri="{BB962C8B-B14F-4D97-AF65-F5344CB8AC3E}">
        <p14:creationId xmlns:p14="http://schemas.microsoft.com/office/powerpoint/2010/main" val="3717373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8BDB7F-0CC5-3C28-F3D9-A8C90AE914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64F84724-936F-2F6C-EA10-593BB05CA529}"/>
              </a:ext>
            </a:extLst>
          </p:cNvPr>
          <p:cNvSpPr txBox="1">
            <a:spLocks/>
          </p:cNvSpPr>
          <p:nvPr/>
        </p:nvSpPr>
        <p:spPr>
          <a:xfrm>
            <a:off x="334963" y="247651"/>
            <a:ext cx="11483970" cy="5135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2"/>
                </a:solidFill>
                <a:latin typeface="Arial Nova Light" panose="020B03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2800" b="1" i="0" u="none" strike="noStrike" kern="1200" cap="none" spc="0" normalizeH="0" baseline="0" noProof="0">
                <a:ln>
                  <a:noFill/>
                </a:ln>
                <a:solidFill>
                  <a:srgbClr val="123E62"/>
                </a:solidFill>
                <a:effectLst/>
                <a:uLnTx/>
                <a:uFillTx/>
                <a:latin typeface="Arial Nova" panose="020B0504020202020204" pitchFamily="34" charset="0"/>
                <a:ea typeface="+mj-ea"/>
                <a:cs typeface="+mj-cs"/>
              </a:rPr>
              <a:t>Course Overview</a:t>
            </a: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123E62"/>
              </a:solidFill>
              <a:effectLst/>
              <a:uLnTx/>
              <a:uFillTx/>
              <a:latin typeface="Arial Nova Light" panose="020B0304020202020204" pitchFamily="34" charset="0"/>
              <a:ea typeface="+mj-ea"/>
              <a:cs typeface="+mj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C658665-243A-5027-0B8B-F86732D31B76}"/>
              </a:ext>
            </a:extLst>
          </p:cNvPr>
          <p:cNvSpPr/>
          <p:nvPr/>
        </p:nvSpPr>
        <p:spPr>
          <a:xfrm>
            <a:off x="1205762" y="860056"/>
            <a:ext cx="10651274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72000" tIns="72000" rIns="72000" bIns="72000" rtlCol="0" anchor="ctr" anchorCtr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200" i="1">
                <a:solidFill>
                  <a:srgbClr val="0B253B"/>
                </a:solidFill>
                <a:latin typeface="Arial Nova Light"/>
                <a:ea typeface="+mn-lt"/>
                <a:cs typeface="+mn-lt"/>
              </a:rPr>
              <a:t>An intensive half-day workshop introducing cloud and edge computing for smart factories, focusing on real-time processing, secure hybrid architectures, and seamless system integration to boost operational agility, enable predictive maintenance, and drive data-led decision-making.</a:t>
            </a:r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652B4EE-FB3D-0AA6-806D-5796BD3A4E4F}"/>
              </a:ext>
            </a:extLst>
          </p:cNvPr>
          <p:cNvGraphicFramePr>
            <a:graphicFrameLocks noGrp="1"/>
          </p:cNvGraphicFramePr>
          <p:nvPr/>
        </p:nvGraphicFramePr>
        <p:xfrm>
          <a:off x="334964" y="1958879"/>
          <a:ext cx="11522073" cy="4633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0691">
                  <a:extLst>
                    <a:ext uri="{9D8B030D-6E8A-4147-A177-3AD203B41FA5}">
                      <a16:colId xmlns:a16="http://schemas.microsoft.com/office/drawing/2014/main" val="1785412486"/>
                    </a:ext>
                  </a:extLst>
                </a:gridCol>
                <a:gridCol w="3840691">
                  <a:extLst>
                    <a:ext uri="{9D8B030D-6E8A-4147-A177-3AD203B41FA5}">
                      <a16:colId xmlns:a16="http://schemas.microsoft.com/office/drawing/2014/main" val="2525373161"/>
                    </a:ext>
                  </a:extLst>
                </a:gridCol>
                <a:gridCol w="3840691">
                  <a:extLst>
                    <a:ext uri="{9D8B030D-6E8A-4147-A177-3AD203B41FA5}">
                      <a16:colId xmlns:a16="http://schemas.microsoft.com/office/drawing/2014/main" val="2386976357"/>
                    </a:ext>
                  </a:extLst>
                </a:gridCol>
              </a:tblGrid>
              <a:tr h="594888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latin typeface="Arial Nova Light"/>
                        </a:rPr>
                        <a:t>Content &amp; Proced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latin typeface="Arial Nova Light"/>
                        </a:rPr>
                        <a:t>Learning Objectiv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latin typeface="Arial Nova Light"/>
                        </a:rPr>
                        <a:t>Operational &amp; Logistical Inf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0472911"/>
                  </a:ext>
                </a:extLst>
              </a:tr>
              <a:tr h="4023360"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rgbClr val="0B253B"/>
                          </a:solidFill>
                          <a:latin typeface="Arial Nova Light"/>
                        </a:rPr>
                        <a:t>Course Content:</a:t>
                      </a:r>
                      <a:endParaRPr lang="en-GB" sz="1400" dirty="0">
                        <a:solidFill>
                          <a:srgbClr val="0B253B"/>
                        </a:solidFill>
                        <a:latin typeface="Arial Nova Ligh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0B253B"/>
                          </a:solidFill>
                          <a:latin typeface="Arial Nova Light"/>
                        </a:rPr>
                        <a:t>Exploring paradigm of Cloud computing 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0B253B"/>
                          </a:solidFill>
                          <a:latin typeface="Arial Nova Light"/>
                        </a:rPr>
                        <a:t>Core concepts of edge computing and real-time data processing</a:t>
                      </a:r>
                      <a:endParaRPr lang="en-GB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0B253B"/>
                          </a:solidFill>
                          <a:latin typeface="Arial Nova Light"/>
                        </a:rPr>
                        <a:t>Comparative analysis: cloud vs. edge architectures</a:t>
                      </a:r>
                      <a:endParaRPr lang="en-GB" sz="1400" dirty="0">
                        <a:solidFill>
                          <a:srgbClr val="0B253B"/>
                        </a:solidFill>
                        <a:latin typeface="Arial Nova Light" panose="020B03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0B253B"/>
                          </a:solidFill>
                          <a:latin typeface="Arial Nova Light"/>
                        </a:rPr>
                        <a:t>Analyse security best practices for hybrid environments (Cloud + on-prem)</a:t>
                      </a:r>
                    </a:p>
                    <a:p>
                      <a:pPr marL="0" lvl="0" indent="0">
                        <a:buNone/>
                      </a:pPr>
                      <a:endParaRPr lang="en-GB" sz="1400" dirty="0">
                        <a:solidFill>
                          <a:srgbClr val="0B253B"/>
                        </a:solidFill>
                        <a:latin typeface="Arial Nova Light"/>
                      </a:endParaRPr>
                    </a:p>
                    <a:p>
                      <a:r>
                        <a:rPr lang="en-GB" sz="1400" b="1" dirty="0">
                          <a:solidFill>
                            <a:srgbClr val="0B253B"/>
                          </a:solidFill>
                          <a:latin typeface="Arial Nova Light"/>
                        </a:rPr>
                        <a:t>Course Procedure / Practical Exercises:</a:t>
                      </a:r>
                      <a:endParaRPr lang="en-GB" sz="1400" dirty="0">
                        <a:solidFill>
                          <a:srgbClr val="0B253B"/>
                        </a:solidFill>
                        <a:latin typeface="Arial Nova Ligh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0B253B"/>
                          </a:solidFill>
                          <a:latin typeface="Arial Nova Light"/>
                        </a:rPr>
                        <a:t>Hands-on lab: deploying an edge-node gateway with data ingestion</a:t>
                      </a:r>
                    </a:p>
                    <a:p>
                      <a:pPr marL="0" indent="0">
                        <a:buNone/>
                      </a:pPr>
                      <a:endParaRPr lang="en-GB" sz="1400" b="1" dirty="0">
                        <a:solidFill>
                          <a:srgbClr val="0B253B"/>
                        </a:solidFill>
                        <a:latin typeface="Arial Nova Light"/>
                      </a:endParaRPr>
                    </a:p>
                    <a:p>
                      <a:pPr marL="0" lvl="0" indent="0">
                        <a:buNone/>
                      </a:pPr>
                      <a:r>
                        <a:rPr lang="en-GB" sz="1400" b="1" dirty="0">
                          <a:solidFill>
                            <a:srgbClr val="0B253B"/>
                          </a:solidFill>
                          <a:latin typeface="Arial Nova Light"/>
                        </a:rPr>
                        <a:t>Tools Used: </a:t>
                      </a:r>
                      <a:r>
                        <a:rPr lang="en-GB" sz="1400" kern="1200" noProof="0" dirty="0">
                          <a:solidFill>
                            <a:srgbClr val="0B253B"/>
                          </a:solidFill>
                          <a:latin typeface="Arial Nova Light"/>
                          <a:ea typeface="+mn-ea"/>
                          <a:cs typeface="+mn-cs"/>
                        </a:rPr>
                        <a:t>Amazon Web Services (AWS)</a:t>
                      </a:r>
                    </a:p>
                    <a:p>
                      <a:pPr marL="0" lvl="0" indent="0">
                        <a:buNone/>
                      </a:pPr>
                      <a:endParaRPr lang="en-GB" sz="1400" b="0" i="0" u="none" strike="noStrike" noProof="0" dirty="0">
                        <a:solidFill>
                          <a:srgbClr val="0B253B"/>
                        </a:solidFill>
                      </a:endParaRPr>
                    </a:p>
                    <a:p>
                      <a:r>
                        <a:rPr lang="en-GB" sz="1400" b="1" dirty="0">
                          <a:solidFill>
                            <a:srgbClr val="0B253B"/>
                          </a:solidFill>
                          <a:latin typeface="Arial Nova Light"/>
                        </a:rPr>
                        <a:t>Activities Prior to Course: </a:t>
                      </a:r>
                      <a:r>
                        <a:rPr lang="en-GB" sz="1400" b="0" i="0" u="none" strike="noStrike" noProof="0" dirty="0">
                          <a:solidFill>
                            <a:srgbClr val="0B253B"/>
                          </a:solidFill>
                          <a:latin typeface="Arial Nova Light"/>
                        </a:rPr>
                        <a:t>Pre-course reading, installations, account creation, etc.</a:t>
                      </a:r>
                      <a:endParaRPr lang="en-GB" sz="1400" dirty="0">
                        <a:solidFill>
                          <a:srgbClr val="0B253B"/>
                        </a:solidFill>
                        <a:latin typeface="Arial Nova Light"/>
                      </a:endParaRPr>
                    </a:p>
                    <a:p>
                      <a:endParaRPr lang="en-GB" sz="1400" dirty="0">
                        <a:solidFill>
                          <a:srgbClr val="0B253B"/>
                        </a:solidFill>
                        <a:latin typeface="Arial Nova Light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B253B"/>
                          </a:solidFill>
                          <a:effectLst/>
                          <a:uLnTx/>
                          <a:uFillTx/>
                          <a:latin typeface="Arial Nova Light"/>
                        </a:rPr>
                        <a:t>After the course, you will…</a:t>
                      </a:r>
                    </a:p>
                    <a:p>
                      <a:pPr marL="342900" marR="0" lvl="0" indent="-34290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0B253B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B253B"/>
                          </a:solidFill>
                          <a:effectLst/>
                          <a:uLnTx/>
                          <a:uFillTx/>
                          <a:latin typeface="Arial Nova Light"/>
                        </a:rPr>
                        <a:t>Design and deploy basic edge-cloud integrated solutions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B253B"/>
                        </a:solidFill>
                        <a:effectLst/>
                        <a:uLnTx/>
                        <a:uFillTx/>
                        <a:latin typeface="Arial Nova Light"/>
                      </a:endParaRPr>
                    </a:p>
                    <a:p>
                      <a:pPr marL="342900" marR="0" lvl="0" indent="-34290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0B253B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B253B"/>
                          </a:solidFill>
                          <a:effectLst/>
                          <a:uLnTx/>
                          <a:uFillTx/>
                          <a:latin typeface="Arial Nova Light"/>
                        </a:rPr>
                        <a:t>Integrate production-line systems using standard APIs and middleware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B253B"/>
                        </a:solidFill>
                        <a:effectLst/>
                        <a:uLnTx/>
                        <a:uFillTx/>
                        <a:latin typeface="Arial Nova Light"/>
                      </a:endParaRPr>
                    </a:p>
                    <a:p>
                      <a:pPr marL="342900" marR="0" lvl="0" indent="-34290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0B253B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B253B"/>
                          </a:solidFill>
                          <a:effectLst/>
                          <a:uLnTx/>
                          <a:uFillTx/>
                          <a:latin typeface="Arial Nova Light"/>
                        </a:rPr>
                        <a:t>Apply security controls across both cloud and on-premise edge node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0B253B"/>
                        </a:buClr>
                        <a:buSzTx/>
                        <a:buNone/>
                      </a:pPr>
                      <a:endParaRPr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B253B"/>
                        </a:solidFill>
                        <a:effectLst/>
                        <a:uLnTx/>
                        <a:uFillTx/>
                        <a:latin typeface="Arial Nova Light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endParaRPr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B253B"/>
                        </a:solidFill>
                        <a:effectLst/>
                        <a:uLnTx/>
                        <a:uFillTx/>
                        <a:latin typeface="Arial Nova Light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solidFill>
                            <a:srgbClr val="0B253B"/>
                          </a:solidFill>
                          <a:latin typeface="Arial Nova Light"/>
                        </a:rPr>
                        <a:t>Trainer: </a:t>
                      </a:r>
                      <a:r>
                        <a:rPr lang="en-US" sz="1400" b="0" dirty="0">
                          <a:solidFill>
                            <a:srgbClr val="0B253B"/>
                          </a:solidFill>
                          <a:latin typeface="Arial Nova Light"/>
                        </a:rPr>
                        <a:t>[Name or TBD]</a:t>
                      </a:r>
                      <a:endParaRPr lang="en-US" sz="1400" b="1" dirty="0">
                        <a:solidFill>
                          <a:srgbClr val="0B253B"/>
                        </a:solidFill>
                        <a:latin typeface="Arial Nova Light"/>
                      </a:endParaRPr>
                    </a:p>
                    <a:p>
                      <a:pPr marL="285750" indent="-285750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solidFill>
                            <a:srgbClr val="0B253B"/>
                          </a:solidFill>
                          <a:latin typeface="Arial Nova Light"/>
                        </a:rPr>
                        <a:t>Duration: </a:t>
                      </a:r>
                      <a:r>
                        <a:rPr lang="en-US" sz="1400" b="0" kern="1200" dirty="0">
                          <a:solidFill>
                            <a:srgbClr val="0B253B"/>
                          </a:solidFill>
                          <a:latin typeface="Arial Nova Light"/>
                          <a:ea typeface="+mn-ea"/>
                          <a:cs typeface="+mn-cs"/>
                        </a:rPr>
                        <a:t>Half Day</a:t>
                      </a:r>
                    </a:p>
                    <a:p>
                      <a:pPr marL="285750" indent="-285750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solidFill>
                            <a:srgbClr val="0B253B"/>
                          </a:solidFill>
                          <a:latin typeface="Arial Nova Light"/>
                        </a:rPr>
                        <a:t>Cohort Size: </a:t>
                      </a:r>
                      <a:r>
                        <a:rPr lang="fr-FR" sz="1400" b="0" dirty="0">
                          <a:solidFill>
                            <a:srgbClr val="0B253B"/>
                          </a:solidFill>
                          <a:latin typeface="Arial Nova Light"/>
                        </a:rPr>
                        <a:t>Max 20 Participants</a:t>
                      </a:r>
                      <a:endParaRPr lang="en-US" sz="1400" b="1" dirty="0">
                        <a:solidFill>
                          <a:srgbClr val="0B253B"/>
                        </a:solidFill>
                        <a:latin typeface="Arial Nova Light"/>
                      </a:endParaRPr>
                    </a:p>
                    <a:p>
                      <a:pPr marL="285750" indent="-285750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solidFill>
                            <a:srgbClr val="0B253B"/>
                          </a:solidFill>
                          <a:latin typeface="Arial Nova Light"/>
                        </a:rPr>
                        <a:t>Intended Audience</a:t>
                      </a:r>
                      <a:r>
                        <a:rPr lang="en-US" sz="1400" b="0" dirty="0">
                          <a:solidFill>
                            <a:srgbClr val="0B253B"/>
                          </a:solidFill>
                          <a:latin typeface="Arial Nova Light"/>
                        </a:rPr>
                        <a:t>: </a:t>
                      </a:r>
                      <a:r>
                        <a:rPr lang="en-US" sz="1400" b="0" i="0" u="none" strike="noStrike" noProof="0" dirty="0">
                          <a:solidFill>
                            <a:srgbClr val="0B253B"/>
                          </a:solidFill>
                          <a:latin typeface="Arial Nova Light"/>
                        </a:rPr>
                        <a:t>Engineers, Technicians, and Industry Professionals, Recent Grads</a:t>
                      </a:r>
                    </a:p>
                    <a:p>
                      <a:pPr marL="285750" indent="-285750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solidFill>
                            <a:srgbClr val="0B253B"/>
                          </a:solidFill>
                          <a:latin typeface="Arial Nova Light"/>
                        </a:rPr>
                        <a:t>Pre-requisites: </a:t>
                      </a:r>
                      <a:r>
                        <a:rPr lang="en-US" sz="1400" b="0" dirty="0">
                          <a:solidFill>
                            <a:srgbClr val="0B253B"/>
                          </a:solidFill>
                          <a:latin typeface="Arial Nova Light"/>
                        </a:rPr>
                        <a:t>Fundamental to Computer System and Network</a:t>
                      </a:r>
                    </a:p>
                    <a:p>
                      <a:pPr marL="285750" indent="-285750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solidFill>
                            <a:srgbClr val="0B253B"/>
                          </a:solidFill>
                          <a:latin typeface="Arial Nova Light"/>
                        </a:rPr>
                        <a:t>Level: </a:t>
                      </a:r>
                      <a:r>
                        <a:rPr lang="en-US" sz="1400" b="0" dirty="0">
                          <a:solidFill>
                            <a:srgbClr val="0B253B"/>
                          </a:solidFill>
                          <a:latin typeface="Arial Nova Light"/>
                        </a:rPr>
                        <a:t>Basic</a:t>
                      </a:r>
                    </a:p>
                    <a:p>
                      <a:pPr marL="285750" indent="-285750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solidFill>
                            <a:srgbClr val="0B253B"/>
                          </a:solidFill>
                          <a:latin typeface="Arial Nova Light"/>
                        </a:rPr>
                        <a:t>Location (if applicable): </a:t>
                      </a:r>
                      <a:r>
                        <a:rPr lang="en-US" sz="1400" b="0" dirty="0">
                          <a:solidFill>
                            <a:srgbClr val="0B253B"/>
                          </a:solidFill>
                          <a:latin typeface="Arial Nova Light"/>
                        </a:rPr>
                        <a:t>Physical</a:t>
                      </a:r>
                    </a:p>
                    <a:p>
                      <a:pPr marL="285750" indent="-285750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>
                          <a:solidFill>
                            <a:srgbClr val="0B253B"/>
                          </a:solidFill>
                          <a:latin typeface="Arial Nova Light"/>
                        </a:rPr>
                        <a:t>Resources Needed: </a:t>
                      </a:r>
                      <a:r>
                        <a:rPr lang="en-US" sz="1400" b="0" i="0" u="none" strike="noStrike" noProof="0" dirty="0">
                          <a:solidFill>
                            <a:srgbClr val="0B253B"/>
                          </a:solidFill>
                          <a:latin typeface="Arial Nova Light"/>
                        </a:rPr>
                        <a:t>Laptop with installed software, stable internet connection</a:t>
                      </a:r>
                      <a:endParaRPr lang="en-US" sz="1400" b="0" dirty="0">
                        <a:solidFill>
                          <a:srgbClr val="0B253B"/>
                        </a:solidFill>
                        <a:latin typeface="Arial Nova Light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112943"/>
                  </a:ext>
                </a:extLst>
              </a:tr>
            </a:tbl>
          </a:graphicData>
        </a:graphic>
      </p:graphicFrame>
      <p:pic>
        <p:nvPicPr>
          <p:cNvPr id="8" name="Graphic 7" descr="List outline">
            <a:extLst>
              <a:ext uri="{FF2B5EF4-FFF2-40B4-BE49-F238E27FC236}">
                <a16:creationId xmlns:a16="http://schemas.microsoft.com/office/drawing/2014/main" id="{09F52C33-D786-3F43-F4A9-E28D959E96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9420" y="2049116"/>
            <a:ext cx="457200" cy="4572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571F9B0-7296-506C-F5FD-42D34AFDBEAC}"/>
              </a:ext>
            </a:extLst>
          </p:cNvPr>
          <p:cNvGrpSpPr>
            <a:grpSpLocks noChangeAspect="1"/>
          </p:cNvGrpSpPr>
          <p:nvPr/>
        </p:nvGrpSpPr>
        <p:grpSpPr>
          <a:xfrm>
            <a:off x="334964" y="858379"/>
            <a:ext cx="870798" cy="733197"/>
            <a:chOff x="861167" y="988379"/>
            <a:chExt cx="1088497" cy="91649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17C54D1-5048-3249-6747-4665DCF6EE8F}"/>
                </a:ext>
              </a:extLst>
            </p:cNvPr>
            <p:cNvSpPr/>
            <p:nvPr/>
          </p:nvSpPr>
          <p:spPr>
            <a:xfrm>
              <a:off x="861167" y="990475"/>
              <a:ext cx="1088497" cy="914400"/>
            </a:xfrm>
            <a:prstGeom prst="rect">
              <a:avLst/>
            </a:prstGeom>
            <a:solidFill>
              <a:srgbClr val="0B253B"/>
            </a:solidFill>
            <a:ln>
              <a:noFill/>
            </a:ln>
          </p:spPr>
          <p:txBody>
            <a:bodyPr spcFirstLastPara="1" wrap="square" lIns="72000" tIns="72000" rIns="72000" bIns="72000" rtlCol="0" anchor="b" anchorCtr="0">
              <a:no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n-US" sz="1200">
                  <a:solidFill>
                    <a:schemeClr val="bg1"/>
                  </a:solidFill>
                </a:rPr>
                <a:t>Synopsis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pic>
          <p:nvPicPr>
            <p:cNvPr id="11" name="Graphic 10" descr="Open book outline">
              <a:extLst>
                <a:ext uri="{FF2B5EF4-FFF2-40B4-BE49-F238E27FC236}">
                  <a16:creationId xmlns:a16="http://schemas.microsoft.com/office/drawing/2014/main" id="{A99952ED-460D-8757-49D2-BF5B6DFE316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85376" y="988379"/>
              <a:ext cx="640080" cy="640081"/>
            </a:xfrm>
            <a:prstGeom prst="rect">
              <a:avLst/>
            </a:prstGeom>
          </p:spPr>
        </p:pic>
      </p:grpSp>
      <p:pic>
        <p:nvPicPr>
          <p:cNvPr id="12" name="Graphic 11" descr="Presentation with checklist outline">
            <a:extLst>
              <a:ext uri="{FF2B5EF4-FFF2-40B4-BE49-F238E27FC236}">
                <a16:creationId xmlns:a16="http://schemas.microsoft.com/office/drawing/2014/main" id="{8386B628-C68C-D02E-FEDC-835F30B52F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33864" y="2049116"/>
            <a:ext cx="457200" cy="457200"/>
          </a:xfrm>
          <a:prstGeom prst="rect">
            <a:avLst/>
          </a:prstGeom>
        </p:spPr>
      </p:pic>
      <p:pic>
        <p:nvPicPr>
          <p:cNvPr id="13" name="Graphic 12" descr="Head with gears outline">
            <a:extLst>
              <a:ext uri="{FF2B5EF4-FFF2-40B4-BE49-F238E27FC236}">
                <a16:creationId xmlns:a16="http://schemas.microsoft.com/office/drawing/2014/main" id="{D410A519-2F0C-F338-8D59-072607E33F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07364" y="2049116"/>
            <a:ext cx="457200" cy="457200"/>
          </a:xfrm>
          <a:prstGeom prst="rect">
            <a:avLst/>
          </a:prstGeom>
        </p:spPr>
      </p:pic>
      <p:pic>
        <p:nvPicPr>
          <p:cNvPr id="3" name="Picture 2" descr="A cloud computing diagram with computers connected to it&#10;&#10;AI-generated content may be incorrect.">
            <a:extLst>
              <a:ext uri="{FF2B5EF4-FFF2-40B4-BE49-F238E27FC236}">
                <a16:creationId xmlns:a16="http://schemas.microsoft.com/office/drawing/2014/main" id="{FA0DB0AC-AAE7-DF7E-F1DB-027A2DE9136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98521" y="4378778"/>
            <a:ext cx="3151415" cy="2476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379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A2FC11-1932-4170-8A33-652AF840C0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94CCF88B-FAAA-A14D-2B0E-FECDD85A4535}"/>
              </a:ext>
            </a:extLst>
          </p:cNvPr>
          <p:cNvSpPr txBox="1">
            <a:spLocks/>
          </p:cNvSpPr>
          <p:nvPr/>
        </p:nvSpPr>
        <p:spPr>
          <a:xfrm>
            <a:off x="334963" y="247651"/>
            <a:ext cx="11483970" cy="5135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2"/>
                </a:solidFill>
                <a:latin typeface="Arial Nova Light" panose="020B03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2800" b="1" i="0" u="none" strike="noStrike" kern="1200" cap="none" spc="0" normalizeH="0" baseline="0" noProof="0">
                <a:ln>
                  <a:noFill/>
                </a:ln>
                <a:solidFill>
                  <a:srgbClr val="123E62"/>
                </a:solidFill>
                <a:effectLst/>
                <a:uLnTx/>
                <a:uFillTx/>
                <a:latin typeface="Arial Nova" panose="020B0504020202020204" pitchFamily="34" charset="0"/>
                <a:ea typeface="+mj-ea"/>
                <a:cs typeface="+mj-cs"/>
              </a:rPr>
              <a:t>Agenda</a:t>
            </a: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123E62"/>
              </a:solidFill>
              <a:effectLst/>
              <a:uLnTx/>
              <a:uFillTx/>
              <a:latin typeface="Arial Nova Light" panose="020B0304020202020204" pitchFamily="34" charset="0"/>
              <a:ea typeface="+mj-ea"/>
              <a:cs typeface="+mj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A528B62-54B9-A79D-F53D-9E4B7A1C8727}"/>
              </a:ext>
            </a:extLst>
          </p:cNvPr>
          <p:cNvGrpSpPr/>
          <p:nvPr/>
        </p:nvGrpSpPr>
        <p:grpSpPr>
          <a:xfrm>
            <a:off x="334964" y="1663700"/>
            <a:ext cx="5595936" cy="914400"/>
            <a:chOff x="334964" y="1562100"/>
            <a:chExt cx="5595936" cy="9144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6090ABE-CCCA-9244-E3F8-581CAE292BB1}"/>
                </a:ext>
              </a:extLst>
            </p:cNvPr>
            <p:cNvSpPr/>
            <p:nvPr/>
          </p:nvSpPr>
          <p:spPr>
            <a:xfrm>
              <a:off x="334964" y="1562100"/>
              <a:ext cx="914400" cy="914400"/>
            </a:xfrm>
            <a:prstGeom prst="rect">
              <a:avLst/>
            </a:prstGeom>
            <a:solidFill>
              <a:srgbClr val="0B253B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n-US" sz="2400" b="1" dirty="0">
                  <a:solidFill>
                    <a:schemeClr val="bg1"/>
                  </a:solidFill>
                  <a:latin typeface="Arial Nova Light" panose="020B0304020202020204" pitchFamily="34" charset="0"/>
                </a:rPr>
                <a:t>01</a:t>
              </a:r>
              <a:endParaRPr lang="en-GB" sz="2400" b="1" dirty="0">
                <a:solidFill>
                  <a:schemeClr val="bg1"/>
                </a:solidFill>
                <a:latin typeface="Arial Nova Light" panose="020B0304020202020204" pitchFamily="34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2F0A59-AF60-3A9B-0CB4-907679EFADFA}"/>
                </a:ext>
              </a:extLst>
            </p:cNvPr>
            <p:cNvSpPr/>
            <p:nvPr/>
          </p:nvSpPr>
          <p:spPr>
            <a:xfrm>
              <a:off x="1249364" y="1562100"/>
              <a:ext cx="4681536" cy="914400"/>
            </a:xfrm>
            <a:prstGeom prst="rect">
              <a:avLst/>
            </a:prstGeom>
            <a:solidFill>
              <a:srgbClr val="F2EFED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r>
                <a:rPr lang="en-US" sz="2000" dirty="0">
                  <a:latin typeface="Arial Nova Light"/>
                  <a:ea typeface="+mn-lt"/>
                  <a:cs typeface="+mn-lt"/>
                </a:rPr>
                <a:t>Introduction to Cloud Computing </a:t>
              </a:r>
              <a:endParaRPr lang="en-US" sz="2000" dirty="0">
                <a:latin typeface="Arial Nova Light"/>
                <a:cs typeface="Arial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AC1914D-9592-AC3D-9EFE-C4E0E0823665}"/>
              </a:ext>
            </a:extLst>
          </p:cNvPr>
          <p:cNvGrpSpPr/>
          <p:nvPr/>
        </p:nvGrpSpPr>
        <p:grpSpPr>
          <a:xfrm>
            <a:off x="334964" y="2826193"/>
            <a:ext cx="5595936" cy="914400"/>
            <a:chOff x="334964" y="1562100"/>
            <a:chExt cx="5595936" cy="9144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2A2E68D-5D91-E913-51A0-CC0EEE4BB523}"/>
                </a:ext>
              </a:extLst>
            </p:cNvPr>
            <p:cNvSpPr/>
            <p:nvPr/>
          </p:nvSpPr>
          <p:spPr>
            <a:xfrm>
              <a:off x="334964" y="1562100"/>
              <a:ext cx="914400" cy="914400"/>
            </a:xfrm>
            <a:prstGeom prst="rect">
              <a:avLst/>
            </a:prstGeom>
            <a:solidFill>
              <a:srgbClr val="0B253B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n-US" sz="2400" b="1" dirty="0">
                  <a:solidFill>
                    <a:schemeClr val="bg1"/>
                  </a:solidFill>
                  <a:latin typeface="Arial Nova Light" panose="020B0304020202020204" pitchFamily="34" charset="0"/>
                </a:rPr>
                <a:t>02</a:t>
              </a:r>
              <a:endParaRPr lang="en-GB" sz="2400" b="1" dirty="0">
                <a:solidFill>
                  <a:schemeClr val="bg1"/>
                </a:solidFill>
                <a:latin typeface="Arial Nova Light" panose="020B030402020202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B398E58-BF05-FCB0-6224-576D941DF988}"/>
                </a:ext>
              </a:extLst>
            </p:cNvPr>
            <p:cNvSpPr/>
            <p:nvPr/>
          </p:nvSpPr>
          <p:spPr>
            <a:xfrm>
              <a:off x="1249364" y="1562100"/>
              <a:ext cx="4681536" cy="914400"/>
            </a:xfrm>
            <a:prstGeom prst="rect">
              <a:avLst/>
            </a:prstGeom>
            <a:solidFill>
              <a:srgbClr val="F2EFED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r>
                <a:rPr lang="en-US" sz="2000" dirty="0">
                  <a:latin typeface="Arial Nova Light"/>
                  <a:ea typeface="+mn-lt"/>
                  <a:cs typeface="+mn-lt"/>
                </a:rPr>
                <a:t>Fundamentals of Edge Computing and Real-Time Processing</a:t>
              </a:r>
              <a:endParaRPr lang="en-US" dirty="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147B8C6-8500-DE3B-561E-C30951338A9E}"/>
              </a:ext>
            </a:extLst>
          </p:cNvPr>
          <p:cNvGrpSpPr/>
          <p:nvPr/>
        </p:nvGrpSpPr>
        <p:grpSpPr>
          <a:xfrm>
            <a:off x="334964" y="3988686"/>
            <a:ext cx="5595936" cy="914400"/>
            <a:chOff x="334964" y="1562100"/>
            <a:chExt cx="5595936" cy="9144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01B79CD-B5CB-D6C1-E1B2-20BE37EFF056}"/>
                </a:ext>
              </a:extLst>
            </p:cNvPr>
            <p:cNvSpPr/>
            <p:nvPr/>
          </p:nvSpPr>
          <p:spPr>
            <a:xfrm>
              <a:off x="334964" y="1562100"/>
              <a:ext cx="914400" cy="914400"/>
            </a:xfrm>
            <a:prstGeom prst="rect">
              <a:avLst/>
            </a:prstGeom>
            <a:solidFill>
              <a:srgbClr val="0B253B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n-US" sz="2400" b="1" dirty="0">
                  <a:solidFill>
                    <a:schemeClr val="bg1"/>
                  </a:solidFill>
                  <a:latin typeface="Arial Nova Light" panose="020B0304020202020204" pitchFamily="34" charset="0"/>
                </a:rPr>
                <a:t>03</a:t>
              </a:r>
              <a:endParaRPr lang="en-GB" sz="2400" b="1" dirty="0">
                <a:solidFill>
                  <a:schemeClr val="bg1"/>
                </a:solidFill>
                <a:latin typeface="Arial Nova Light" panose="020B03040202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5D732E5-64B1-0D3E-918A-959D88D671BE}"/>
                </a:ext>
              </a:extLst>
            </p:cNvPr>
            <p:cNvSpPr/>
            <p:nvPr/>
          </p:nvSpPr>
          <p:spPr>
            <a:xfrm>
              <a:off x="1249364" y="1562100"/>
              <a:ext cx="4681536" cy="914400"/>
            </a:xfrm>
            <a:prstGeom prst="rect">
              <a:avLst/>
            </a:prstGeom>
            <a:solidFill>
              <a:srgbClr val="F2EFED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r>
                <a:rPr lang="en-US" sz="2000" dirty="0">
                  <a:latin typeface="Arial Nova Light"/>
                  <a:ea typeface="+mn-lt"/>
                  <a:cs typeface="+mn-lt"/>
                </a:rPr>
                <a:t>Key Differences Between Cloud and Edge Computing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B22FCBD-A090-DF90-E7C6-019514D4FAD6}"/>
              </a:ext>
            </a:extLst>
          </p:cNvPr>
          <p:cNvGrpSpPr/>
          <p:nvPr/>
        </p:nvGrpSpPr>
        <p:grpSpPr>
          <a:xfrm>
            <a:off x="334964" y="5151179"/>
            <a:ext cx="5595936" cy="914400"/>
            <a:chOff x="334964" y="1562100"/>
            <a:chExt cx="5595936" cy="9144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8601BA6-BF7B-7503-32C9-9E9883BD20CA}"/>
                </a:ext>
              </a:extLst>
            </p:cNvPr>
            <p:cNvSpPr/>
            <p:nvPr/>
          </p:nvSpPr>
          <p:spPr>
            <a:xfrm>
              <a:off x="334964" y="1562100"/>
              <a:ext cx="914400" cy="914400"/>
            </a:xfrm>
            <a:prstGeom prst="rect">
              <a:avLst/>
            </a:prstGeom>
            <a:solidFill>
              <a:srgbClr val="0B253B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n-US" sz="2400" b="1" dirty="0">
                  <a:solidFill>
                    <a:schemeClr val="bg1"/>
                  </a:solidFill>
                  <a:latin typeface="Arial Nova Light" panose="020B0304020202020204" pitchFamily="34" charset="0"/>
                </a:rPr>
                <a:t>04</a:t>
              </a:r>
              <a:endParaRPr lang="en-GB" sz="2400" b="1" dirty="0">
                <a:solidFill>
                  <a:schemeClr val="bg1"/>
                </a:solidFill>
                <a:latin typeface="Arial Nova Light" panose="020B03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177AF06-D7AC-3012-50C3-8BDA88B03C1F}"/>
                </a:ext>
              </a:extLst>
            </p:cNvPr>
            <p:cNvSpPr/>
            <p:nvPr/>
          </p:nvSpPr>
          <p:spPr>
            <a:xfrm>
              <a:off x="1249364" y="1562100"/>
              <a:ext cx="4681536" cy="914400"/>
            </a:xfrm>
            <a:prstGeom prst="rect">
              <a:avLst/>
            </a:prstGeom>
            <a:solidFill>
              <a:srgbClr val="F2EFED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r>
                <a:rPr lang="en-US" sz="2000" dirty="0">
                  <a:latin typeface="Arial Nova Light"/>
                  <a:ea typeface="+mn-lt"/>
                  <a:cs typeface="+mn-lt"/>
                </a:rPr>
                <a:t>Smart Manufacturing Use Cases for Cloud &amp; Edge Solutions</a:t>
              </a:r>
              <a:endParaRPr lang="en-US" dirty="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C1BAF55-DEDE-2080-2011-6DEBECE5FE73}"/>
              </a:ext>
            </a:extLst>
          </p:cNvPr>
          <p:cNvGrpSpPr/>
          <p:nvPr/>
        </p:nvGrpSpPr>
        <p:grpSpPr>
          <a:xfrm>
            <a:off x="6261100" y="1663700"/>
            <a:ext cx="5595936" cy="914400"/>
            <a:chOff x="334964" y="1562100"/>
            <a:chExt cx="5595936" cy="9144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8FEEF95-5D21-EFC8-4149-7EC527C38F3F}"/>
                </a:ext>
              </a:extLst>
            </p:cNvPr>
            <p:cNvSpPr/>
            <p:nvPr/>
          </p:nvSpPr>
          <p:spPr>
            <a:xfrm>
              <a:off x="334964" y="1562100"/>
              <a:ext cx="914400" cy="914400"/>
            </a:xfrm>
            <a:prstGeom prst="rect">
              <a:avLst/>
            </a:prstGeom>
            <a:solidFill>
              <a:srgbClr val="0B253B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n-US" sz="2400" b="1" dirty="0">
                  <a:solidFill>
                    <a:schemeClr val="bg1"/>
                  </a:solidFill>
                  <a:latin typeface="Arial Nova Light" panose="020B0304020202020204" pitchFamily="34" charset="0"/>
                </a:rPr>
                <a:t>05</a:t>
              </a:r>
              <a:endParaRPr lang="en-GB" sz="2400" b="1" dirty="0">
                <a:solidFill>
                  <a:schemeClr val="bg1"/>
                </a:solidFill>
                <a:latin typeface="Arial Nova Light" panose="020B030402020202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7268649-41DA-7F39-D620-5E426AC4567C}"/>
                </a:ext>
              </a:extLst>
            </p:cNvPr>
            <p:cNvSpPr/>
            <p:nvPr/>
          </p:nvSpPr>
          <p:spPr>
            <a:xfrm>
              <a:off x="1249364" y="1562100"/>
              <a:ext cx="4681536" cy="914400"/>
            </a:xfrm>
            <a:prstGeom prst="rect">
              <a:avLst/>
            </a:prstGeom>
            <a:solidFill>
              <a:srgbClr val="F2EFED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r>
                <a:rPr lang="en-US" sz="2000" dirty="0">
                  <a:latin typeface="Arial Nova Light"/>
                  <a:ea typeface="+mn-lt"/>
                  <a:cs typeface="+mn-lt"/>
                </a:rPr>
                <a:t>Edge-Cloud Integration Strategies &amp; Reference Architectures</a:t>
              </a:r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57142F0-CE02-53EE-D303-B58237388547}"/>
              </a:ext>
            </a:extLst>
          </p:cNvPr>
          <p:cNvGrpSpPr/>
          <p:nvPr/>
        </p:nvGrpSpPr>
        <p:grpSpPr>
          <a:xfrm>
            <a:off x="6261100" y="2826193"/>
            <a:ext cx="5595936" cy="914400"/>
            <a:chOff x="334964" y="1562100"/>
            <a:chExt cx="5595936" cy="91440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D380C50-786E-95A8-2750-CC9A9CCEA2A3}"/>
                </a:ext>
              </a:extLst>
            </p:cNvPr>
            <p:cNvSpPr/>
            <p:nvPr/>
          </p:nvSpPr>
          <p:spPr>
            <a:xfrm>
              <a:off x="334964" y="1562100"/>
              <a:ext cx="914400" cy="914400"/>
            </a:xfrm>
            <a:prstGeom prst="rect">
              <a:avLst/>
            </a:prstGeom>
            <a:solidFill>
              <a:srgbClr val="0B253B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n-US" sz="2400" b="1" dirty="0">
                  <a:solidFill>
                    <a:schemeClr val="bg1"/>
                  </a:solidFill>
                  <a:latin typeface="Arial Nova Light" panose="020B0304020202020204" pitchFamily="34" charset="0"/>
                </a:rPr>
                <a:t>06</a:t>
              </a:r>
              <a:endParaRPr lang="en-GB" sz="2400" b="1" dirty="0">
                <a:solidFill>
                  <a:schemeClr val="bg1"/>
                </a:solidFill>
                <a:latin typeface="Arial Nova Light" panose="020B0304020202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99B810C-0FD3-E4B7-2CA8-FD8281920E1E}"/>
                </a:ext>
              </a:extLst>
            </p:cNvPr>
            <p:cNvSpPr/>
            <p:nvPr/>
          </p:nvSpPr>
          <p:spPr>
            <a:xfrm>
              <a:off x="1249364" y="1562100"/>
              <a:ext cx="4681536" cy="914400"/>
            </a:xfrm>
            <a:prstGeom prst="rect">
              <a:avLst/>
            </a:prstGeom>
            <a:solidFill>
              <a:srgbClr val="F2EFED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r>
                <a:rPr lang="en-US" sz="2000" dirty="0">
                  <a:latin typeface="Arial Nova Light"/>
                  <a:ea typeface="+mn-lt"/>
                  <a:cs typeface="+mn-lt"/>
                </a:rPr>
                <a:t>Interfacing with ERP, MES and Other Digital Systems</a:t>
              </a:r>
              <a:endParaRPr lang="en-US" dirty="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4B2FCC4-DD7F-8891-7C36-8FBA333430C9}"/>
              </a:ext>
            </a:extLst>
          </p:cNvPr>
          <p:cNvGrpSpPr/>
          <p:nvPr/>
        </p:nvGrpSpPr>
        <p:grpSpPr>
          <a:xfrm>
            <a:off x="6261100" y="3988686"/>
            <a:ext cx="5595936" cy="914400"/>
            <a:chOff x="334964" y="1562100"/>
            <a:chExt cx="5595936" cy="9144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0D22F5E-DAF0-4F73-F739-853669C929C0}"/>
                </a:ext>
              </a:extLst>
            </p:cNvPr>
            <p:cNvSpPr/>
            <p:nvPr/>
          </p:nvSpPr>
          <p:spPr>
            <a:xfrm>
              <a:off x="334964" y="1562100"/>
              <a:ext cx="914400" cy="914400"/>
            </a:xfrm>
            <a:prstGeom prst="rect">
              <a:avLst/>
            </a:prstGeom>
            <a:solidFill>
              <a:srgbClr val="0B253B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n-US" sz="2400" b="1" dirty="0">
                  <a:solidFill>
                    <a:schemeClr val="bg1"/>
                  </a:solidFill>
                  <a:latin typeface="Arial Nova Light" panose="020B0304020202020204" pitchFamily="34" charset="0"/>
                </a:rPr>
                <a:t>07</a:t>
              </a:r>
              <a:endParaRPr lang="en-GB" sz="2400" b="1" dirty="0">
                <a:solidFill>
                  <a:schemeClr val="bg1"/>
                </a:solidFill>
                <a:latin typeface="Arial Nova Light" panose="020B030402020202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08F74CA-AB4D-5622-F671-40DD7987443D}"/>
                </a:ext>
              </a:extLst>
            </p:cNvPr>
            <p:cNvSpPr/>
            <p:nvPr/>
          </p:nvSpPr>
          <p:spPr>
            <a:xfrm>
              <a:off x="1249364" y="1562100"/>
              <a:ext cx="4681536" cy="914400"/>
            </a:xfrm>
            <a:prstGeom prst="rect">
              <a:avLst/>
            </a:prstGeom>
            <a:solidFill>
              <a:srgbClr val="F2EFED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r>
                <a:rPr lang="en-US" sz="2000" dirty="0">
                  <a:latin typeface="Arial Nova Light"/>
                  <a:ea typeface="+mn-lt"/>
                  <a:cs typeface="+mn-lt"/>
                </a:rPr>
                <a:t>Security Considerations for Cloud &amp; Edge Deployments</a:t>
              </a:r>
              <a:endParaRPr lang="en-US" dirty="0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7F9D865-3921-4976-3190-24449E938153}"/>
              </a:ext>
            </a:extLst>
          </p:cNvPr>
          <p:cNvGrpSpPr/>
          <p:nvPr/>
        </p:nvGrpSpPr>
        <p:grpSpPr>
          <a:xfrm>
            <a:off x="6261100" y="5151179"/>
            <a:ext cx="5595936" cy="914400"/>
            <a:chOff x="334964" y="1562100"/>
            <a:chExt cx="5595936" cy="914400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5D7ED27-5DFD-41C4-2C12-1D249418EF67}"/>
                </a:ext>
              </a:extLst>
            </p:cNvPr>
            <p:cNvSpPr/>
            <p:nvPr/>
          </p:nvSpPr>
          <p:spPr>
            <a:xfrm>
              <a:off x="334964" y="1562100"/>
              <a:ext cx="914400" cy="914400"/>
            </a:xfrm>
            <a:prstGeom prst="rect">
              <a:avLst/>
            </a:prstGeom>
            <a:solidFill>
              <a:srgbClr val="0B253B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pPr algn="ctr">
                <a:buClr>
                  <a:schemeClr val="bg2"/>
                </a:buClr>
              </a:pPr>
              <a:r>
                <a:rPr lang="en-US" sz="2400" b="1" dirty="0">
                  <a:solidFill>
                    <a:schemeClr val="bg1"/>
                  </a:solidFill>
                  <a:latin typeface="Arial Nova Light" panose="020B0304020202020204" pitchFamily="34" charset="0"/>
                </a:rPr>
                <a:t>08</a:t>
              </a:r>
              <a:endParaRPr lang="en-GB" sz="2400" b="1" dirty="0">
                <a:solidFill>
                  <a:schemeClr val="bg1"/>
                </a:solidFill>
                <a:latin typeface="Arial Nova Light" panose="020B0304020202020204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CF56E7B-B0A9-48E7-157A-1C58A80A250B}"/>
                </a:ext>
              </a:extLst>
            </p:cNvPr>
            <p:cNvSpPr/>
            <p:nvPr/>
          </p:nvSpPr>
          <p:spPr>
            <a:xfrm>
              <a:off x="1249364" y="1562100"/>
              <a:ext cx="4681536" cy="914400"/>
            </a:xfrm>
            <a:prstGeom prst="rect">
              <a:avLst/>
            </a:prstGeom>
            <a:solidFill>
              <a:srgbClr val="F2EFED"/>
            </a:solidFill>
            <a:ln>
              <a:noFill/>
            </a:ln>
          </p:spPr>
          <p:txBody>
            <a:bodyPr spcFirstLastPara="1" wrap="square" lIns="72000" tIns="72000" rIns="72000" bIns="72000" rtlCol="0" anchor="ctr" anchorCtr="0">
              <a:noAutofit/>
            </a:bodyPr>
            <a:lstStyle/>
            <a:p>
              <a:r>
                <a:rPr lang="en-US" sz="2000" dirty="0">
                  <a:latin typeface="Arial Nova Light"/>
                  <a:ea typeface="+mn-lt"/>
                  <a:cs typeface="+mn-lt"/>
                </a:rPr>
                <a:t>Hands-on Edge-Cloud Deployment &amp; Integration Exercises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36272896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E3B1BDC4-2F62-923B-5225-4F530AF0031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6574" b="6574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E971A2F-5A5B-2261-6AA1-8DA44B73D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 Nova Light"/>
                <a:ea typeface="+mn-lt"/>
                <a:cs typeface="+mn-lt"/>
              </a:rPr>
              <a:t>Introduction to Cloud Computing </a:t>
            </a:r>
            <a:endParaRPr lang="en-IN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348276-49F1-36BE-C2D8-7232958089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dirty="0"/>
              <a:t>Topics Covered:</a:t>
            </a:r>
          </a:p>
          <a:p>
            <a:pPr marL="0" indent="0">
              <a:buNone/>
            </a:pPr>
            <a:endParaRPr lang="en-IN" dirty="0"/>
          </a:p>
          <a:p>
            <a:pPr marL="342900" indent="-342900">
              <a:buAutoNum type="arabicPeriod"/>
            </a:pPr>
            <a:r>
              <a:rPr lang="en-IN" dirty="0"/>
              <a:t>What is Cloud Computing ?</a:t>
            </a:r>
          </a:p>
          <a:p>
            <a:pPr marL="342900" indent="-342900">
              <a:buAutoNum type="arabicPeriod"/>
            </a:pPr>
            <a:r>
              <a:rPr lang="en-IN" dirty="0"/>
              <a:t>Cloud Deployment Models</a:t>
            </a:r>
          </a:p>
          <a:p>
            <a:pPr marL="342900" indent="-342900">
              <a:buAutoNum type="arabicPeriod"/>
            </a:pPr>
            <a:r>
              <a:rPr lang="en-IN" dirty="0"/>
              <a:t>Cloud Service Models</a:t>
            </a:r>
          </a:p>
          <a:p>
            <a:pPr marL="342900" indent="-342900">
              <a:buAutoNum type="arabicPeriod"/>
            </a:pPr>
            <a:r>
              <a:rPr lang="en-IN" dirty="0"/>
              <a:t>Cloud Computing: Applications in Manufacturing</a:t>
            </a:r>
          </a:p>
          <a:p>
            <a:pPr marL="342900" indent="-342900">
              <a:buAutoNum type="arabicPeriod"/>
            </a:pPr>
            <a:r>
              <a:rPr lang="en-IN" dirty="0"/>
              <a:t>Case Study</a:t>
            </a:r>
          </a:p>
          <a:p>
            <a:pPr marL="342900" indent="-342900">
              <a:buAutoNum type="arabicPeriod"/>
            </a:pP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999E9E-708F-9CFC-ED37-284C8A614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6F9F8-3B2A-B32E-3A23-A0CFC1D7FD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B65AE6-1155-F5B5-9CB2-9CC0EA1FE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8" name="SmartArt Placeholder 7">
            <a:extLst>
              <a:ext uri="{FF2B5EF4-FFF2-40B4-BE49-F238E27FC236}">
                <a16:creationId xmlns:a16="http://schemas.microsoft.com/office/drawing/2014/main" id="{448ED703-3041-7AAC-6C59-256C9F12F61A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859165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2161C2-9468-493F-20D8-634FB5002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hat is Cloud Computing?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559DCD-9CAB-3E4D-CF02-D6B6971FA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F3A520-85C9-A401-1EEC-F75CA75D2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B5A86E-EFC2-30FF-0243-78C01269C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5</a:t>
            </a:fld>
            <a:endParaRPr lang="de-DE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956B8DE-975F-9F21-357F-14E75627609D}"/>
              </a:ext>
            </a:extLst>
          </p:cNvPr>
          <p:cNvGrpSpPr/>
          <p:nvPr/>
        </p:nvGrpSpPr>
        <p:grpSpPr>
          <a:xfrm>
            <a:off x="397000" y="1714655"/>
            <a:ext cx="5131015" cy="4656138"/>
            <a:chOff x="397000" y="1714655"/>
            <a:chExt cx="5131015" cy="4656138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CCB13F2-474D-0969-3CA8-55C3544325A6}"/>
                </a:ext>
              </a:extLst>
            </p:cNvPr>
            <p:cNvSpPr/>
            <p:nvPr/>
          </p:nvSpPr>
          <p:spPr>
            <a:xfrm rot="16200000">
              <a:off x="634439" y="1477216"/>
              <a:ext cx="4656138" cy="5131015"/>
            </a:xfrm>
            <a:custGeom>
              <a:avLst/>
              <a:gdLst>
                <a:gd name="connsiteX0" fmla="*/ 0 w 4656138"/>
                <a:gd name="connsiteY0" fmla="*/ 0 h 884666"/>
                <a:gd name="connsiteX1" fmla="*/ 4656138 w 4656138"/>
                <a:gd name="connsiteY1" fmla="*/ 0 h 884666"/>
                <a:gd name="connsiteX2" fmla="*/ 4656138 w 4656138"/>
                <a:gd name="connsiteY2" fmla="*/ 884666 h 884666"/>
                <a:gd name="connsiteX3" fmla="*/ 0 w 4656138"/>
                <a:gd name="connsiteY3" fmla="*/ 884666 h 884666"/>
                <a:gd name="connsiteX4" fmla="*/ 0 w 4656138"/>
                <a:gd name="connsiteY4" fmla="*/ 0 h 88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6138" h="884666">
                  <a:moveTo>
                    <a:pt x="0" y="0"/>
                  </a:moveTo>
                  <a:lnTo>
                    <a:pt x="4656138" y="0"/>
                  </a:lnTo>
                  <a:lnTo>
                    <a:pt x="4656138" y="884666"/>
                  </a:lnTo>
                  <a:lnTo>
                    <a:pt x="0" y="8846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735" tIns="38735" rIns="38734" bIns="38734" numCol="1" spcCol="1270" anchor="ctr" anchorCtr="0">
              <a:noAutofit/>
            </a:bodyPr>
            <a:lstStyle/>
            <a:p>
              <a:pPr marL="0" lvl="0" indent="0" algn="ctr" defTabSz="2711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IN" sz="6100" kern="1200" dirty="0"/>
            </a:p>
          </p:txBody>
        </p:sp>
        <p:sp>
          <p:nvSpPr>
            <p:cNvPr id="14" name="Content Placeholder 2">
              <a:extLst>
                <a:ext uri="{FF2B5EF4-FFF2-40B4-BE49-F238E27FC236}">
                  <a16:creationId xmlns:a16="http://schemas.microsoft.com/office/drawing/2014/main" id="{5EB050B7-283C-42E8-7B86-97D039002699}"/>
                </a:ext>
              </a:extLst>
            </p:cNvPr>
            <p:cNvSpPr txBox="1">
              <a:spLocks/>
            </p:cNvSpPr>
            <p:nvPr/>
          </p:nvSpPr>
          <p:spPr>
            <a:xfrm>
              <a:off x="3008002" y="2700256"/>
              <a:ext cx="2457976" cy="663520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87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6575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9138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Jamie’s Computer</a:t>
              </a:r>
            </a:p>
            <a:p>
              <a:pPr marL="0" indent="0">
                <a:buNone/>
              </a:pPr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4 Cores / 8 GB / 500 GB</a:t>
              </a:r>
              <a:endParaRPr lang="en-IN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mbria" panose="02040503050406030204" pitchFamily="18" charset="0"/>
              </a:endParaRPr>
            </a:p>
          </p:txBody>
        </p:sp>
        <p:pic>
          <p:nvPicPr>
            <p:cNvPr id="15" name="Picture 8" descr="Student using computer clip. Computing clipart boy">
              <a:extLst>
                <a:ext uri="{FF2B5EF4-FFF2-40B4-BE49-F238E27FC236}">
                  <a16:creationId xmlns:a16="http://schemas.microsoft.com/office/drawing/2014/main" id="{DA37D7C5-12F8-0A7A-7F48-AA41073FD2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762" y="2918530"/>
              <a:ext cx="2253385" cy="22483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D56184C-EA88-74A8-EAF4-C6D5B4E87C1B}"/>
              </a:ext>
            </a:extLst>
          </p:cNvPr>
          <p:cNvSpPr txBox="1">
            <a:spLocks/>
          </p:cNvSpPr>
          <p:nvPr/>
        </p:nvSpPr>
        <p:spPr>
          <a:xfrm>
            <a:off x="3008002" y="4278591"/>
            <a:ext cx="2384017" cy="10364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>
                  <a:lumMod val="85000"/>
                  <a:lumOff val="15000"/>
                </a:schemeClr>
              </a:buClr>
              <a:buFont typeface="Garamond" pitchFamily="18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Garamond" pitchFamily="18" charset="0"/>
              <a:buNone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mbria" panose="02040503050406030204" pitchFamily="18" charset="0"/>
              </a:rPr>
              <a:t>Requirement for new software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mbria" panose="02040503050406030204" pitchFamily="18" charset="0"/>
              </a:rPr>
              <a:t>32 Cores / 64 GB / 1 TB</a:t>
            </a:r>
            <a:endParaRPr lang="en-IN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Cambria" panose="02040503050406030204" pitchFamily="18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E54D88C-BBD5-8909-151E-1CD18C6D1472}"/>
              </a:ext>
            </a:extLst>
          </p:cNvPr>
          <p:cNvGrpSpPr/>
          <p:nvPr/>
        </p:nvGrpSpPr>
        <p:grpSpPr>
          <a:xfrm>
            <a:off x="5392020" y="3909219"/>
            <a:ext cx="6544948" cy="2189023"/>
            <a:chOff x="5392020" y="3909219"/>
            <a:chExt cx="6544948" cy="2189023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A3B0999-F2F0-EE3E-C9E0-CA1847D9F5AF}"/>
                </a:ext>
              </a:extLst>
            </p:cNvPr>
            <p:cNvSpPr/>
            <p:nvPr/>
          </p:nvSpPr>
          <p:spPr>
            <a:xfrm>
              <a:off x="5392020" y="3909219"/>
              <a:ext cx="970471" cy="552916"/>
            </a:xfrm>
            <a:custGeom>
              <a:avLst/>
              <a:gdLst>
                <a:gd name="connsiteX0" fmla="*/ 0 w 580341"/>
                <a:gd name="connsiteY0" fmla="*/ 0 h 552916"/>
                <a:gd name="connsiteX1" fmla="*/ 290170 w 580341"/>
                <a:gd name="connsiteY1" fmla="*/ 0 h 552916"/>
                <a:gd name="connsiteX2" fmla="*/ 290170 w 580341"/>
                <a:gd name="connsiteY2" fmla="*/ 552916 h 552916"/>
                <a:gd name="connsiteX3" fmla="*/ 580341 w 580341"/>
                <a:gd name="connsiteY3" fmla="*/ 552916 h 55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341" h="552916">
                  <a:moveTo>
                    <a:pt x="0" y="0"/>
                  </a:moveTo>
                  <a:lnTo>
                    <a:pt x="290170" y="0"/>
                  </a:lnTo>
                  <a:lnTo>
                    <a:pt x="290170" y="552916"/>
                  </a:lnTo>
                  <a:lnTo>
                    <a:pt x="580341" y="552916"/>
                  </a:lnTo>
                </a:path>
              </a:pathLst>
            </a:custGeom>
            <a:noFill/>
            <a:ln w="381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82831" tIns="256418" rIns="282832" bIns="256420" numCol="1" spcCol="1270" anchor="ctr" anchorCtr="0">
              <a:noAutofit/>
            </a:bodyPr>
            <a:lstStyle/>
            <a:p>
              <a:pPr marL="0" lvl="0" indent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IN" sz="500" kern="12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BCCF6F9-85AF-390B-F0CB-D738CE68C3C3}"/>
                </a:ext>
              </a:extLst>
            </p:cNvPr>
            <p:cNvSpPr/>
            <p:nvPr/>
          </p:nvSpPr>
          <p:spPr>
            <a:xfrm>
              <a:off x="6362491" y="4019801"/>
              <a:ext cx="5249044" cy="1912563"/>
            </a:xfrm>
            <a:custGeom>
              <a:avLst/>
              <a:gdLst>
                <a:gd name="connsiteX0" fmla="*/ 0 w 2901705"/>
                <a:gd name="connsiteY0" fmla="*/ 0 h 884666"/>
                <a:gd name="connsiteX1" fmla="*/ 2901705 w 2901705"/>
                <a:gd name="connsiteY1" fmla="*/ 0 h 884666"/>
                <a:gd name="connsiteX2" fmla="*/ 2901705 w 2901705"/>
                <a:gd name="connsiteY2" fmla="*/ 884666 h 884666"/>
                <a:gd name="connsiteX3" fmla="*/ 0 w 2901705"/>
                <a:gd name="connsiteY3" fmla="*/ 884666 h 884666"/>
                <a:gd name="connsiteX4" fmla="*/ 0 w 2901705"/>
                <a:gd name="connsiteY4" fmla="*/ 0 h 88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1705" h="884666">
                  <a:moveTo>
                    <a:pt x="0" y="0"/>
                  </a:moveTo>
                  <a:lnTo>
                    <a:pt x="2901705" y="0"/>
                  </a:lnTo>
                  <a:lnTo>
                    <a:pt x="2901705" y="884666"/>
                  </a:lnTo>
                  <a:lnTo>
                    <a:pt x="0" y="8846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10000"/>
                <a:lumOff val="9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735" tIns="38735" rIns="38735" bIns="38735" numCol="1" spcCol="1270" anchor="ctr" anchorCtr="0">
              <a:noAutofit/>
            </a:bodyPr>
            <a:lstStyle/>
            <a:p>
              <a:pPr marL="0" lvl="0" indent="0" algn="ctr" defTabSz="2711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IN" sz="6100" kern="1200"/>
            </a:p>
          </p:txBody>
        </p:sp>
        <p:sp>
          <p:nvSpPr>
            <p:cNvPr id="18" name="Content Placeholder 2">
              <a:extLst>
                <a:ext uri="{FF2B5EF4-FFF2-40B4-BE49-F238E27FC236}">
                  <a16:creationId xmlns:a16="http://schemas.microsoft.com/office/drawing/2014/main" id="{11659999-D4EA-2CB5-3B16-58EC335059B9}"/>
                </a:ext>
              </a:extLst>
            </p:cNvPr>
            <p:cNvSpPr txBox="1">
              <a:spLocks/>
            </p:cNvSpPr>
            <p:nvPr/>
          </p:nvSpPr>
          <p:spPr>
            <a:xfrm>
              <a:off x="6585322" y="4185678"/>
              <a:ext cx="4932896" cy="1912564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87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6575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9138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Option 2: Use remote compute</a:t>
              </a: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BlueCloud</a:t>
              </a:r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 – an over the internet compute provider</a:t>
              </a:r>
            </a:p>
            <a:p>
              <a:pPr marL="0" indent="0">
                <a:buFont typeface="Arial" panose="020B0604020202020204" pitchFamily="34" charset="0"/>
                <a:buNone/>
              </a:pPr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mbria" panose="02040503050406030204" pitchFamily="18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Challenges</a:t>
              </a:r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: Requires stable internet connection</a:t>
              </a: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Benefits</a:t>
              </a:r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: pay-as-you-go; Instantly scalable</a:t>
              </a:r>
              <a:endParaRPr lang="en-IN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mbria" panose="02040503050406030204" pitchFamily="18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E6257F1-0A0D-DF57-3927-6D4FB112807E}"/>
                </a:ext>
              </a:extLst>
            </p:cNvPr>
            <p:cNvSpPr txBox="1"/>
            <p:nvPr/>
          </p:nvSpPr>
          <p:spPr>
            <a:xfrm rot="16200000">
              <a:off x="10826994" y="4822388"/>
              <a:ext cx="1889640" cy="33030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IN" b="1" dirty="0">
                  <a:solidFill>
                    <a:schemeClr val="bg1"/>
                  </a:solidFill>
                </a:rPr>
                <a:t>Cloud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6BF5A9B-3C6C-15AD-E3D1-BC4EB62C87FA}"/>
              </a:ext>
            </a:extLst>
          </p:cNvPr>
          <p:cNvGrpSpPr/>
          <p:nvPr/>
        </p:nvGrpSpPr>
        <p:grpSpPr>
          <a:xfrm>
            <a:off x="5392020" y="1857689"/>
            <a:ext cx="6544946" cy="2051529"/>
            <a:chOff x="5392020" y="1857689"/>
            <a:chExt cx="6544946" cy="2051529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D3B3B04-F7E4-A539-549D-4EEADB79E59B}"/>
                </a:ext>
              </a:extLst>
            </p:cNvPr>
            <p:cNvSpPr/>
            <p:nvPr/>
          </p:nvSpPr>
          <p:spPr>
            <a:xfrm>
              <a:off x="5392020" y="3356302"/>
              <a:ext cx="970471" cy="552916"/>
            </a:xfrm>
            <a:custGeom>
              <a:avLst/>
              <a:gdLst>
                <a:gd name="connsiteX0" fmla="*/ 0 w 580341"/>
                <a:gd name="connsiteY0" fmla="*/ 552916 h 552916"/>
                <a:gd name="connsiteX1" fmla="*/ 290170 w 580341"/>
                <a:gd name="connsiteY1" fmla="*/ 552916 h 552916"/>
                <a:gd name="connsiteX2" fmla="*/ 290170 w 580341"/>
                <a:gd name="connsiteY2" fmla="*/ 0 h 552916"/>
                <a:gd name="connsiteX3" fmla="*/ 580341 w 580341"/>
                <a:gd name="connsiteY3" fmla="*/ 0 h 55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0341" h="552916">
                  <a:moveTo>
                    <a:pt x="0" y="552916"/>
                  </a:moveTo>
                  <a:lnTo>
                    <a:pt x="290170" y="552916"/>
                  </a:lnTo>
                  <a:lnTo>
                    <a:pt x="290170" y="0"/>
                  </a:lnTo>
                  <a:lnTo>
                    <a:pt x="580341" y="0"/>
                  </a:lnTo>
                </a:path>
              </a:pathLst>
            </a:custGeom>
            <a:noFill/>
            <a:ln w="381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2">
                <a:tint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82831" tIns="256419" rIns="282832" bIns="256419" numCol="1" spcCol="1270" anchor="ctr" anchorCtr="0">
              <a:noAutofit/>
            </a:bodyPr>
            <a:lstStyle/>
            <a:p>
              <a:pPr marL="0" lvl="0" indent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IN" sz="500" kern="1200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720A71B-8877-EC90-41C8-A6856C0DD8D7}"/>
                </a:ext>
              </a:extLst>
            </p:cNvPr>
            <p:cNvSpPr/>
            <p:nvPr/>
          </p:nvSpPr>
          <p:spPr>
            <a:xfrm>
              <a:off x="6362491" y="1857689"/>
              <a:ext cx="5249044" cy="1940946"/>
            </a:xfrm>
            <a:custGeom>
              <a:avLst/>
              <a:gdLst>
                <a:gd name="connsiteX0" fmla="*/ 0 w 2901705"/>
                <a:gd name="connsiteY0" fmla="*/ 0 h 884666"/>
                <a:gd name="connsiteX1" fmla="*/ 2901705 w 2901705"/>
                <a:gd name="connsiteY1" fmla="*/ 0 h 884666"/>
                <a:gd name="connsiteX2" fmla="*/ 2901705 w 2901705"/>
                <a:gd name="connsiteY2" fmla="*/ 884666 h 884666"/>
                <a:gd name="connsiteX3" fmla="*/ 0 w 2901705"/>
                <a:gd name="connsiteY3" fmla="*/ 884666 h 884666"/>
                <a:gd name="connsiteX4" fmla="*/ 0 w 2901705"/>
                <a:gd name="connsiteY4" fmla="*/ 0 h 88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1705" h="884666">
                  <a:moveTo>
                    <a:pt x="0" y="0"/>
                  </a:moveTo>
                  <a:lnTo>
                    <a:pt x="2901705" y="0"/>
                  </a:lnTo>
                  <a:lnTo>
                    <a:pt x="2901705" y="884666"/>
                  </a:lnTo>
                  <a:lnTo>
                    <a:pt x="0" y="8846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10000"/>
                <a:lumOff val="9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735" tIns="38735" rIns="38735" bIns="38735" numCol="1" spcCol="1270" anchor="ctr" anchorCtr="0">
              <a:noAutofit/>
            </a:bodyPr>
            <a:lstStyle/>
            <a:p>
              <a:pPr marL="0" lvl="0" indent="0" algn="ctr" defTabSz="2711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IN" sz="6100" kern="1200"/>
            </a:p>
          </p:txBody>
        </p:sp>
        <p:sp>
          <p:nvSpPr>
            <p:cNvPr id="17" name="Content Placeholder 2">
              <a:extLst>
                <a:ext uri="{FF2B5EF4-FFF2-40B4-BE49-F238E27FC236}">
                  <a16:creationId xmlns:a16="http://schemas.microsoft.com/office/drawing/2014/main" id="{AD1B0070-03C2-52A4-A059-A555B79034F0}"/>
                </a:ext>
              </a:extLst>
            </p:cNvPr>
            <p:cNvSpPr txBox="1">
              <a:spLocks/>
            </p:cNvSpPr>
            <p:nvPr/>
          </p:nvSpPr>
          <p:spPr>
            <a:xfrm>
              <a:off x="6585322" y="2046461"/>
              <a:ext cx="4829929" cy="155062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87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6575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9138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6938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Option 1: Buy a new computer</a:t>
              </a:r>
            </a:p>
            <a:p>
              <a:pPr marL="0" indent="0">
                <a:buFont typeface="Arial" panose="020B0604020202020204" pitchFamily="34" charset="0"/>
                <a:buNone/>
              </a:pPr>
              <a:endPara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mbria" panose="02040503050406030204" pitchFamily="18" charset="0"/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Challenges:</a:t>
              </a:r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 High upfront cost; Need for maintenance &amp; upgrades</a:t>
              </a: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Benefits: </a:t>
              </a:r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Cambria" panose="02040503050406030204" pitchFamily="18" charset="0"/>
                </a:rPr>
                <a:t>Full control over infra; Works w/o internet</a:t>
              </a:r>
              <a:endParaRPr lang="en-IN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mbria" panose="02040503050406030204" pitchFamily="18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24E838D-2F2E-2122-4477-BB2071F0644B}"/>
                </a:ext>
              </a:extLst>
            </p:cNvPr>
            <p:cNvSpPr txBox="1"/>
            <p:nvPr/>
          </p:nvSpPr>
          <p:spPr>
            <a:xfrm rot="16200000">
              <a:off x="10814395" y="2649953"/>
              <a:ext cx="1914836" cy="330307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IN" b="1" dirty="0">
                  <a:solidFill>
                    <a:schemeClr val="bg1"/>
                  </a:solidFill>
                </a:rPr>
                <a:t>On-pre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8286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8F1DDBBC-64C6-5465-987F-8D4CDEC49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hat is Cloud Computing?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DBF3089-13CF-65C3-DCE9-A83F1EDA8B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581150"/>
            <a:ext cx="5294506" cy="461437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Cloud computing means delivering IT resources—like servers, storage, and databases—over the internet on demand. </a:t>
            </a:r>
          </a:p>
          <a:p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Instead of buying and maintaining physical servers, organizations rent resources from cloud providers like AWS, Microsoft Azure, or Google Cloud.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9B1090-746C-B0C8-5FA0-CBC156EB7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A2CB08-9F1E-2A41-0A2D-71CDBD3F8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B19228-D9DE-87D2-DF1C-E2F42234C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6</a:t>
            </a:fld>
            <a:endParaRPr lang="de-DE"/>
          </a:p>
        </p:txBody>
      </p:sp>
      <p:grpSp>
        <p:nvGrpSpPr>
          <p:cNvPr id="14" name="Group 13" descr="Group of three icons representing the primary cloud computing services of Compute, Networking, and Storage.">
            <a:extLst>
              <a:ext uri="{FF2B5EF4-FFF2-40B4-BE49-F238E27FC236}">
                <a16:creationId xmlns:a16="http://schemas.microsoft.com/office/drawing/2014/main" id="{7B42B915-E5C6-11C0-1AFD-BE81A979F4F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7191747" y="958691"/>
            <a:ext cx="4238843" cy="5458405"/>
            <a:chOff x="5765039" y="679038"/>
            <a:chExt cx="4238843" cy="5458405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A48E274-88AC-2174-7739-22E1E686294A}"/>
                </a:ext>
              </a:extLst>
            </p:cNvPr>
            <p:cNvGrpSpPr/>
            <p:nvPr/>
          </p:nvGrpSpPr>
          <p:grpSpPr>
            <a:xfrm>
              <a:off x="5853696" y="679038"/>
              <a:ext cx="3920757" cy="1660327"/>
              <a:chOff x="5713547" y="-1005222"/>
              <a:chExt cx="3920757" cy="1660327"/>
            </a:xfrm>
          </p:grpSpPr>
          <p:pic>
            <p:nvPicPr>
              <p:cNvPr id="22" name="Picture 21" descr="Icon representing racks of servers for compute.">
                <a:extLst>
                  <a:ext uri="{FF2B5EF4-FFF2-40B4-BE49-F238E27FC236}">
                    <a16:creationId xmlns:a16="http://schemas.microsoft.com/office/drawing/2014/main" id="{C635C1DD-6F38-612C-B6AF-7D325DE23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713547" y="-1005222"/>
                <a:ext cx="1660327" cy="1660327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12F06AEA-33AA-CDC4-77D5-55CA61E639D2}"/>
                  </a:ext>
                </a:extLst>
              </p:cNvPr>
              <p:cNvSpPr txBox="1"/>
              <p:nvPr/>
            </p:nvSpPr>
            <p:spPr>
              <a:xfrm>
                <a:off x="7410097" y="-582863"/>
                <a:ext cx="2224207" cy="627864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24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Compute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94775453-0F2B-DA97-D2EC-D7C692FBB841}"/>
                </a:ext>
              </a:extLst>
            </p:cNvPr>
            <p:cNvGrpSpPr/>
            <p:nvPr/>
          </p:nvGrpSpPr>
          <p:grpSpPr>
            <a:xfrm>
              <a:off x="5765039" y="4474005"/>
              <a:ext cx="3864263" cy="1663438"/>
              <a:chOff x="2410770" y="2768854"/>
              <a:chExt cx="3864263" cy="1663438"/>
            </a:xfrm>
          </p:grpSpPr>
          <p:pic>
            <p:nvPicPr>
              <p:cNvPr id="20" name="Picture 19" descr="Bar graphic representing data being stored on cloud servers">
                <a:extLst>
                  <a:ext uri="{FF2B5EF4-FFF2-40B4-BE49-F238E27FC236}">
                    <a16:creationId xmlns:a16="http://schemas.microsoft.com/office/drawing/2014/main" id="{FAB1249E-6748-9840-1BCA-3F55DC059C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410770" y="2768854"/>
                <a:ext cx="1660328" cy="1663438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CB58250-88A0-78C2-482E-5F16A47D5990}"/>
                  </a:ext>
                </a:extLst>
              </p:cNvPr>
              <p:cNvSpPr txBox="1"/>
              <p:nvPr/>
            </p:nvSpPr>
            <p:spPr>
              <a:xfrm>
                <a:off x="4341127" y="3343842"/>
                <a:ext cx="1933906" cy="627864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24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Storage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BA81C54-9657-335D-2884-3DEFCB686C46}"/>
                </a:ext>
              </a:extLst>
            </p:cNvPr>
            <p:cNvGrpSpPr/>
            <p:nvPr/>
          </p:nvGrpSpPr>
          <p:grpSpPr>
            <a:xfrm>
              <a:off x="5765040" y="2564628"/>
              <a:ext cx="4238842" cy="1660327"/>
              <a:chOff x="2528696" y="3280590"/>
              <a:chExt cx="4238842" cy="1660327"/>
            </a:xfrm>
          </p:grpSpPr>
          <p:pic>
            <p:nvPicPr>
              <p:cNvPr id="18" name="Picture 17" descr="Picture of two arrows showing data flowing on a network.">
                <a:extLst>
                  <a:ext uri="{FF2B5EF4-FFF2-40B4-BE49-F238E27FC236}">
                    <a16:creationId xmlns:a16="http://schemas.microsoft.com/office/drawing/2014/main" id="{EEDC9F41-F5C0-CFC4-7522-56C756B3AB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528696" y="3280590"/>
                <a:ext cx="1660327" cy="1660327"/>
              </a:xfrm>
              <a:prstGeom prst="rect">
                <a:avLst/>
              </a:prstGeom>
            </p:spPr>
          </p:pic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678C17C5-B0D6-23DD-2098-CA0FD724F36B}"/>
                  </a:ext>
                </a:extLst>
              </p:cNvPr>
              <p:cNvSpPr txBox="1"/>
              <p:nvPr/>
            </p:nvSpPr>
            <p:spPr>
              <a:xfrm>
                <a:off x="4084471" y="3808715"/>
                <a:ext cx="2683067" cy="627864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24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Networking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45468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9AB09-7FD2-769F-CC5A-0DB1F14D7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oud Computing: Core Characteristic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0DE9B3-8F77-7459-573B-0BE72C55B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15E6EC-5509-BD06-57C4-5B128E8C67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FBFA72-EC82-FA81-0832-2D3475009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7</a:t>
            </a:fld>
            <a:endParaRPr lang="de-DE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6DC99AB-7190-C561-1A8A-378E06768A90}"/>
              </a:ext>
            </a:extLst>
          </p:cNvPr>
          <p:cNvGrpSpPr/>
          <p:nvPr/>
        </p:nvGrpSpPr>
        <p:grpSpPr>
          <a:xfrm>
            <a:off x="307598" y="2102372"/>
            <a:ext cx="11529020" cy="2977721"/>
            <a:chOff x="336773" y="2730634"/>
            <a:chExt cx="11529020" cy="2977721"/>
          </a:xfrm>
        </p:grpSpPr>
        <p:sp>
          <p:nvSpPr>
            <p:cNvPr id="9" name="Rectangle 8" descr="Cloud Computing">
              <a:extLst>
                <a:ext uri="{FF2B5EF4-FFF2-40B4-BE49-F238E27FC236}">
                  <a16:creationId xmlns:a16="http://schemas.microsoft.com/office/drawing/2014/main" id="{2BB18384-F684-DE78-4C1C-7552759AC4A0}"/>
                </a:ext>
              </a:extLst>
            </p:cNvPr>
            <p:cNvSpPr/>
            <p:nvPr/>
          </p:nvSpPr>
          <p:spPr>
            <a:xfrm>
              <a:off x="336773" y="2730634"/>
              <a:ext cx="707273" cy="707273"/>
            </a:xfrm>
            <a:prstGeom prst="rect">
              <a:avLst/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53C59AA-848A-2FB8-0745-F198AAADFDA8}"/>
                </a:ext>
              </a:extLst>
            </p:cNvPr>
            <p:cNvSpPr/>
            <p:nvPr/>
          </p:nvSpPr>
          <p:spPr>
            <a:xfrm>
              <a:off x="336773" y="3539265"/>
              <a:ext cx="2020781" cy="473620"/>
            </a:xfrm>
            <a:custGeom>
              <a:avLst/>
              <a:gdLst>
                <a:gd name="connsiteX0" fmla="*/ 0 w 2020781"/>
                <a:gd name="connsiteY0" fmla="*/ 0 h 473620"/>
                <a:gd name="connsiteX1" fmla="*/ 2020781 w 2020781"/>
                <a:gd name="connsiteY1" fmla="*/ 0 h 473620"/>
                <a:gd name="connsiteX2" fmla="*/ 2020781 w 2020781"/>
                <a:gd name="connsiteY2" fmla="*/ 473620 h 473620"/>
                <a:gd name="connsiteX3" fmla="*/ 0 w 2020781"/>
                <a:gd name="connsiteY3" fmla="*/ 473620 h 473620"/>
                <a:gd name="connsiteX4" fmla="*/ 0 w 2020781"/>
                <a:gd name="connsiteY4" fmla="*/ 0 h 473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781" h="473620">
                  <a:moveTo>
                    <a:pt x="0" y="0"/>
                  </a:moveTo>
                  <a:lnTo>
                    <a:pt x="2020781" y="0"/>
                  </a:lnTo>
                  <a:lnTo>
                    <a:pt x="2020781" y="473620"/>
                  </a:lnTo>
                  <a:lnTo>
                    <a:pt x="0" y="4736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7112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b="1"/>
              </a:pPr>
              <a:r>
                <a:rPr lang="en-US" sz="1600" kern="1200" dirty="0"/>
                <a:t>On-demand self-service</a:t>
              </a: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3062183-E544-11AE-5D69-0935119C36F4}"/>
                </a:ext>
              </a:extLst>
            </p:cNvPr>
            <p:cNvSpPr/>
            <p:nvPr/>
          </p:nvSpPr>
          <p:spPr>
            <a:xfrm>
              <a:off x="336773" y="4207339"/>
              <a:ext cx="2020781" cy="1501016"/>
            </a:xfrm>
            <a:custGeom>
              <a:avLst/>
              <a:gdLst>
                <a:gd name="connsiteX0" fmla="*/ 0 w 2020781"/>
                <a:gd name="connsiteY0" fmla="*/ 0 h 1027774"/>
                <a:gd name="connsiteX1" fmla="*/ 2020781 w 2020781"/>
                <a:gd name="connsiteY1" fmla="*/ 0 h 1027774"/>
                <a:gd name="connsiteX2" fmla="*/ 2020781 w 2020781"/>
                <a:gd name="connsiteY2" fmla="*/ 1027774 h 1027774"/>
                <a:gd name="connsiteX3" fmla="*/ 0 w 2020781"/>
                <a:gd name="connsiteY3" fmla="*/ 1027774 h 1027774"/>
                <a:gd name="connsiteX4" fmla="*/ 0 w 2020781"/>
                <a:gd name="connsiteY4" fmla="*/ 0 h 10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781" h="1027774">
                  <a:moveTo>
                    <a:pt x="0" y="0"/>
                  </a:moveTo>
                  <a:lnTo>
                    <a:pt x="2020781" y="0"/>
                  </a:lnTo>
                  <a:lnTo>
                    <a:pt x="2020781" y="1027774"/>
                  </a:lnTo>
                  <a:lnTo>
                    <a:pt x="0" y="102777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Provision computing resources as needed without human interaction with the provider.</a:t>
              </a:r>
            </a:p>
          </p:txBody>
        </p:sp>
        <p:sp>
          <p:nvSpPr>
            <p:cNvPr id="12" name="Rectangle 11" descr="Laptop">
              <a:extLst>
                <a:ext uri="{FF2B5EF4-FFF2-40B4-BE49-F238E27FC236}">
                  <a16:creationId xmlns:a16="http://schemas.microsoft.com/office/drawing/2014/main" id="{4AE137D8-894E-870F-D4AF-994627D5A26F}"/>
                </a:ext>
              </a:extLst>
            </p:cNvPr>
            <p:cNvSpPr/>
            <p:nvPr/>
          </p:nvSpPr>
          <p:spPr>
            <a:xfrm>
              <a:off x="2711191" y="2730634"/>
              <a:ext cx="707273" cy="707273"/>
            </a:xfrm>
            <a:prstGeom prst="rect">
              <a:avLst/>
            </a:pr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D35AF71-F10A-FF72-4CF1-3F8384E47736}"/>
                </a:ext>
              </a:extLst>
            </p:cNvPr>
            <p:cNvSpPr/>
            <p:nvPr/>
          </p:nvSpPr>
          <p:spPr>
            <a:xfrm>
              <a:off x="2711191" y="3539265"/>
              <a:ext cx="2020781" cy="473620"/>
            </a:xfrm>
            <a:custGeom>
              <a:avLst/>
              <a:gdLst>
                <a:gd name="connsiteX0" fmla="*/ 0 w 2020781"/>
                <a:gd name="connsiteY0" fmla="*/ 0 h 473620"/>
                <a:gd name="connsiteX1" fmla="*/ 2020781 w 2020781"/>
                <a:gd name="connsiteY1" fmla="*/ 0 h 473620"/>
                <a:gd name="connsiteX2" fmla="*/ 2020781 w 2020781"/>
                <a:gd name="connsiteY2" fmla="*/ 473620 h 473620"/>
                <a:gd name="connsiteX3" fmla="*/ 0 w 2020781"/>
                <a:gd name="connsiteY3" fmla="*/ 473620 h 473620"/>
                <a:gd name="connsiteX4" fmla="*/ 0 w 2020781"/>
                <a:gd name="connsiteY4" fmla="*/ 0 h 473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781" h="473620">
                  <a:moveTo>
                    <a:pt x="0" y="0"/>
                  </a:moveTo>
                  <a:lnTo>
                    <a:pt x="2020781" y="0"/>
                  </a:lnTo>
                  <a:lnTo>
                    <a:pt x="2020781" y="473620"/>
                  </a:lnTo>
                  <a:lnTo>
                    <a:pt x="0" y="4736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7112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b="1"/>
              </a:pPr>
              <a:r>
                <a:rPr lang="en-US" sz="1600" kern="1200" dirty="0"/>
                <a:t>Broad network access</a:t>
              </a: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07849D8-7379-7C33-2500-4732F374A4D6}"/>
                </a:ext>
              </a:extLst>
            </p:cNvPr>
            <p:cNvSpPr/>
            <p:nvPr/>
          </p:nvSpPr>
          <p:spPr>
            <a:xfrm>
              <a:off x="2711191" y="4205404"/>
              <a:ext cx="2020781" cy="1027774"/>
            </a:xfrm>
            <a:custGeom>
              <a:avLst/>
              <a:gdLst>
                <a:gd name="connsiteX0" fmla="*/ 0 w 2020781"/>
                <a:gd name="connsiteY0" fmla="*/ 0 h 1027774"/>
                <a:gd name="connsiteX1" fmla="*/ 2020781 w 2020781"/>
                <a:gd name="connsiteY1" fmla="*/ 0 h 1027774"/>
                <a:gd name="connsiteX2" fmla="*/ 2020781 w 2020781"/>
                <a:gd name="connsiteY2" fmla="*/ 1027774 h 1027774"/>
                <a:gd name="connsiteX3" fmla="*/ 0 w 2020781"/>
                <a:gd name="connsiteY3" fmla="*/ 1027774 h 1027774"/>
                <a:gd name="connsiteX4" fmla="*/ 0 w 2020781"/>
                <a:gd name="connsiteY4" fmla="*/ 0 h 10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781" h="1027774">
                  <a:moveTo>
                    <a:pt x="0" y="0"/>
                  </a:moveTo>
                  <a:lnTo>
                    <a:pt x="2020781" y="0"/>
                  </a:lnTo>
                  <a:lnTo>
                    <a:pt x="2020781" y="1027774"/>
                  </a:lnTo>
                  <a:lnTo>
                    <a:pt x="0" y="102777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Services available over the network via standard platforms (e.g., mobile, laptop, workstations).</a:t>
              </a:r>
            </a:p>
          </p:txBody>
        </p:sp>
        <p:sp>
          <p:nvSpPr>
            <p:cNvPr id="15" name="Rectangle 14" descr="Users">
              <a:extLst>
                <a:ext uri="{FF2B5EF4-FFF2-40B4-BE49-F238E27FC236}">
                  <a16:creationId xmlns:a16="http://schemas.microsoft.com/office/drawing/2014/main" id="{5F92240F-EA56-0332-4832-599C7D239C56}"/>
                </a:ext>
              </a:extLst>
            </p:cNvPr>
            <p:cNvSpPr/>
            <p:nvPr/>
          </p:nvSpPr>
          <p:spPr>
            <a:xfrm>
              <a:off x="5085609" y="2730634"/>
              <a:ext cx="707273" cy="707273"/>
            </a:xfrm>
            <a:prstGeom prst="rect">
              <a:avLst/>
            </a:prstGeom>
            <a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541074-A025-3CF3-6128-89380BE390B0}"/>
                </a:ext>
              </a:extLst>
            </p:cNvPr>
            <p:cNvSpPr/>
            <p:nvPr/>
          </p:nvSpPr>
          <p:spPr>
            <a:xfrm>
              <a:off x="5085609" y="3539265"/>
              <a:ext cx="2020781" cy="473620"/>
            </a:xfrm>
            <a:custGeom>
              <a:avLst/>
              <a:gdLst>
                <a:gd name="connsiteX0" fmla="*/ 0 w 2020781"/>
                <a:gd name="connsiteY0" fmla="*/ 0 h 473620"/>
                <a:gd name="connsiteX1" fmla="*/ 2020781 w 2020781"/>
                <a:gd name="connsiteY1" fmla="*/ 0 h 473620"/>
                <a:gd name="connsiteX2" fmla="*/ 2020781 w 2020781"/>
                <a:gd name="connsiteY2" fmla="*/ 473620 h 473620"/>
                <a:gd name="connsiteX3" fmla="*/ 0 w 2020781"/>
                <a:gd name="connsiteY3" fmla="*/ 473620 h 473620"/>
                <a:gd name="connsiteX4" fmla="*/ 0 w 2020781"/>
                <a:gd name="connsiteY4" fmla="*/ 0 h 473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781" h="473620">
                  <a:moveTo>
                    <a:pt x="0" y="0"/>
                  </a:moveTo>
                  <a:lnTo>
                    <a:pt x="2020781" y="0"/>
                  </a:lnTo>
                  <a:lnTo>
                    <a:pt x="2020781" y="473620"/>
                  </a:lnTo>
                  <a:lnTo>
                    <a:pt x="0" y="4736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7112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b="1"/>
              </a:pPr>
              <a:r>
                <a:rPr lang="en-US" sz="1600" kern="1200"/>
                <a:t>Resource pooling</a:t>
              </a: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3F5279F-6056-CB93-B028-0E2CE15A574B}"/>
                </a:ext>
              </a:extLst>
            </p:cNvPr>
            <p:cNvSpPr/>
            <p:nvPr/>
          </p:nvSpPr>
          <p:spPr>
            <a:xfrm>
              <a:off x="5085609" y="4213585"/>
              <a:ext cx="2020781" cy="1027774"/>
            </a:xfrm>
            <a:custGeom>
              <a:avLst/>
              <a:gdLst>
                <a:gd name="connsiteX0" fmla="*/ 0 w 2020781"/>
                <a:gd name="connsiteY0" fmla="*/ 0 h 1027774"/>
                <a:gd name="connsiteX1" fmla="*/ 2020781 w 2020781"/>
                <a:gd name="connsiteY1" fmla="*/ 0 h 1027774"/>
                <a:gd name="connsiteX2" fmla="*/ 2020781 w 2020781"/>
                <a:gd name="connsiteY2" fmla="*/ 1027774 h 1027774"/>
                <a:gd name="connsiteX3" fmla="*/ 0 w 2020781"/>
                <a:gd name="connsiteY3" fmla="*/ 1027774 h 1027774"/>
                <a:gd name="connsiteX4" fmla="*/ 0 w 2020781"/>
                <a:gd name="connsiteY4" fmla="*/ 0 h 10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781" h="1027774">
                  <a:moveTo>
                    <a:pt x="0" y="0"/>
                  </a:moveTo>
                  <a:lnTo>
                    <a:pt x="2020781" y="0"/>
                  </a:lnTo>
                  <a:lnTo>
                    <a:pt x="2020781" y="1027774"/>
                  </a:lnTo>
                  <a:lnTo>
                    <a:pt x="0" y="102777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Provider resources are pooled to serve multiple customers dynamically.</a:t>
              </a:r>
            </a:p>
          </p:txBody>
        </p:sp>
        <p:sp>
          <p:nvSpPr>
            <p:cNvPr id="18" name="Rectangle 17" descr="Transfer">
              <a:extLst>
                <a:ext uri="{FF2B5EF4-FFF2-40B4-BE49-F238E27FC236}">
                  <a16:creationId xmlns:a16="http://schemas.microsoft.com/office/drawing/2014/main" id="{86DBCB8F-FAC9-ED6F-9EF7-22F5F3F27052}"/>
                </a:ext>
              </a:extLst>
            </p:cNvPr>
            <p:cNvSpPr/>
            <p:nvPr/>
          </p:nvSpPr>
          <p:spPr>
            <a:xfrm>
              <a:off x="7460027" y="2730634"/>
              <a:ext cx="707273" cy="707273"/>
            </a:xfrm>
            <a:prstGeom prst="rect">
              <a:avLst/>
            </a:prstGeom>
            <a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D6C906A-0210-78A2-AEE7-44A1DEE5FCCE}"/>
                </a:ext>
              </a:extLst>
            </p:cNvPr>
            <p:cNvSpPr/>
            <p:nvPr/>
          </p:nvSpPr>
          <p:spPr>
            <a:xfrm>
              <a:off x="7460027" y="3539265"/>
              <a:ext cx="2020781" cy="473620"/>
            </a:xfrm>
            <a:custGeom>
              <a:avLst/>
              <a:gdLst>
                <a:gd name="connsiteX0" fmla="*/ 0 w 2020781"/>
                <a:gd name="connsiteY0" fmla="*/ 0 h 473620"/>
                <a:gd name="connsiteX1" fmla="*/ 2020781 w 2020781"/>
                <a:gd name="connsiteY1" fmla="*/ 0 h 473620"/>
                <a:gd name="connsiteX2" fmla="*/ 2020781 w 2020781"/>
                <a:gd name="connsiteY2" fmla="*/ 473620 h 473620"/>
                <a:gd name="connsiteX3" fmla="*/ 0 w 2020781"/>
                <a:gd name="connsiteY3" fmla="*/ 473620 h 473620"/>
                <a:gd name="connsiteX4" fmla="*/ 0 w 2020781"/>
                <a:gd name="connsiteY4" fmla="*/ 0 h 473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781" h="473620">
                  <a:moveTo>
                    <a:pt x="0" y="0"/>
                  </a:moveTo>
                  <a:lnTo>
                    <a:pt x="2020781" y="0"/>
                  </a:lnTo>
                  <a:lnTo>
                    <a:pt x="2020781" y="473620"/>
                  </a:lnTo>
                  <a:lnTo>
                    <a:pt x="0" y="4736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7112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b="1"/>
              </a:pPr>
              <a:r>
                <a:rPr lang="en-US" sz="1600" kern="1200" dirty="0"/>
                <a:t>Rapid elasticity</a:t>
              </a: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8ED639A-FC09-757F-456E-092B70835EFF}"/>
                </a:ext>
              </a:extLst>
            </p:cNvPr>
            <p:cNvSpPr/>
            <p:nvPr/>
          </p:nvSpPr>
          <p:spPr>
            <a:xfrm>
              <a:off x="7460027" y="4204507"/>
              <a:ext cx="2020781" cy="1027774"/>
            </a:xfrm>
            <a:custGeom>
              <a:avLst/>
              <a:gdLst>
                <a:gd name="connsiteX0" fmla="*/ 0 w 2020781"/>
                <a:gd name="connsiteY0" fmla="*/ 0 h 1027774"/>
                <a:gd name="connsiteX1" fmla="*/ 2020781 w 2020781"/>
                <a:gd name="connsiteY1" fmla="*/ 0 h 1027774"/>
                <a:gd name="connsiteX2" fmla="*/ 2020781 w 2020781"/>
                <a:gd name="connsiteY2" fmla="*/ 1027774 h 1027774"/>
                <a:gd name="connsiteX3" fmla="*/ 0 w 2020781"/>
                <a:gd name="connsiteY3" fmla="*/ 1027774 h 1027774"/>
                <a:gd name="connsiteX4" fmla="*/ 0 w 2020781"/>
                <a:gd name="connsiteY4" fmla="*/ 0 h 10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781" h="1027774">
                  <a:moveTo>
                    <a:pt x="0" y="0"/>
                  </a:moveTo>
                  <a:lnTo>
                    <a:pt x="2020781" y="0"/>
                  </a:lnTo>
                  <a:lnTo>
                    <a:pt x="2020781" y="1027774"/>
                  </a:lnTo>
                  <a:lnTo>
                    <a:pt x="0" y="102777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Capabilities can be elastically provisioned and released to scale outward/inward.</a:t>
              </a:r>
            </a:p>
          </p:txBody>
        </p:sp>
        <p:sp>
          <p:nvSpPr>
            <p:cNvPr id="21" name="Rectangle 20" descr="Eyes">
              <a:extLst>
                <a:ext uri="{FF2B5EF4-FFF2-40B4-BE49-F238E27FC236}">
                  <a16:creationId xmlns:a16="http://schemas.microsoft.com/office/drawing/2014/main" id="{5FC921F0-3F78-0D8D-B84C-3B542F148E86}"/>
                </a:ext>
              </a:extLst>
            </p:cNvPr>
            <p:cNvSpPr/>
            <p:nvPr/>
          </p:nvSpPr>
          <p:spPr>
            <a:xfrm>
              <a:off x="9834445" y="2730634"/>
              <a:ext cx="707273" cy="707273"/>
            </a:xfrm>
            <a:prstGeom prst="rect">
              <a:avLst/>
            </a:prstGeom>
            <a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8EA2BB2-7375-7FFB-E7CE-C3AC4DED4198}"/>
                </a:ext>
              </a:extLst>
            </p:cNvPr>
            <p:cNvSpPr/>
            <p:nvPr/>
          </p:nvSpPr>
          <p:spPr>
            <a:xfrm>
              <a:off x="9834445" y="3539265"/>
              <a:ext cx="2020781" cy="473620"/>
            </a:xfrm>
            <a:custGeom>
              <a:avLst/>
              <a:gdLst>
                <a:gd name="connsiteX0" fmla="*/ 0 w 2020781"/>
                <a:gd name="connsiteY0" fmla="*/ 0 h 473620"/>
                <a:gd name="connsiteX1" fmla="*/ 2020781 w 2020781"/>
                <a:gd name="connsiteY1" fmla="*/ 0 h 473620"/>
                <a:gd name="connsiteX2" fmla="*/ 2020781 w 2020781"/>
                <a:gd name="connsiteY2" fmla="*/ 473620 h 473620"/>
                <a:gd name="connsiteX3" fmla="*/ 0 w 2020781"/>
                <a:gd name="connsiteY3" fmla="*/ 473620 h 473620"/>
                <a:gd name="connsiteX4" fmla="*/ 0 w 2020781"/>
                <a:gd name="connsiteY4" fmla="*/ 0 h 473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781" h="473620">
                  <a:moveTo>
                    <a:pt x="0" y="0"/>
                  </a:moveTo>
                  <a:lnTo>
                    <a:pt x="2020781" y="0"/>
                  </a:lnTo>
                  <a:lnTo>
                    <a:pt x="2020781" y="473620"/>
                  </a:lnTo>
                  <a:lnTo>
                    <a:pt x="0" y="4736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7112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b="1"/>
              </a:pPr>
              <a:r>
                <a:rPr lang="en-US" sz="1600" kern="1200"/>
                <a:t>Measured service	</a:t>
              </a: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4F7E9FF-857A-8DDD-8E52-DA9E45C601AE}"/>
                </a:ext>
              </a:extLst>
            </p:cNvPr>
            <p:cNvSpPr/>
            <p:nvPr/>
          </p:nvSpPr>
          <p:spPr>
            <a:xfrm>
              <a:off x="9845012" y="4204507"/>
              <a:ext cx="2020781" cy="1027774"/>
            </a:xfrm>
            <a:custGeom>
              <a:avLst/>
              <a:gdLst>
                <a:gd name="connsiteX0" fmla="*/ 0 w 2020781"/>
                <a:gd name="connsiteY0" fmla="*/ 0 h 1027774"/>
                <a:gd name="connsiteX1" fmla="*/ 2020781 w 2020781"/>
                <a:gd name="connsiteY1" fmla="*/ 0 h 1027774"/>
                <a:gd name="connsiteX2" fmla="*/ 2020781 w 2020781"/>
                <a:gd name="connsiteY2" fmla="*/ 1027774 h 1027774"/>
                <a:gd name="connsiteX3" fmla="*/ 0 w 2020781"/>
                <a:gd name="connsiteY3" fmla="*/ 1027774 h 1027774"/>
                <a:gd name="connsiteX4" fmla="*/ 0 w 2020781"/>
                <a:gd name="connsiteY4" fmla="*/ 0 h 102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781" h="1027774">
                  <a:moveTo>
                    <a:pt x="0" y="0"/>
                  </a:moveTo>
                  <a:lnTo>
                    <a:pt x="2020781" y="0"/>
                  </a:lnTo>
                  <a:lnTo>
                    <a:pt x="2020781" y="1027774"/>
                  </a:lnTo>
                  <a:lnTo>
                    <a:pt x="0" y="102777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Usage is monitored, controlled, and reported, ensuring transparency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6124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76533D-9A00-C564-74BD-504E5CCDC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oud Computing: Core Services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0782E78B-3CE2-C3A9-E571-3B74B1066B8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26442817"/>
              </p:ext>
            </p:extLst>
          </p:nvPr>
        </p:nvGraphicFramePr>
        <p:xfrm>
          <a:off x="1244082" y="1137827"/>
          <a:ext cx="10269894" cy="2520000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2894299">
                  <a:extLst>
                    <a:ext uri="{9D8B030D-6E8A-4147-A177-3AD203B41FA5}">
                      <a16:colId xmlns:a16="http://schemas.microsoft.com/office/drawing/2014/main" val="1691313661"/>
                    </a:ext>
                  </a:extLst>
                </a:gridCol>
                <a:gridCol w="7375595">
                  <a:extLst>
                    <a:ext uri="{9D8B030D-6E8A-4147-A177-3AD203B41FA5}">
                      <a16:colId xmlns:a16="http://schemas.microsoft.com/office/drawing/2014/main" val="4175311052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r>
                        <a:rPr lang="en-IN" sz="1500" dirty="0"/>
                        <a:t>Service Category</a:t>
                      </a:r>
                    </a:p>
                  </a:txBody>
                  <a:tcPr marL="76330" marR="76330" marT="38165" marB="38165" anchor="ctr"/>
                </a:tc>
                <a:tc>
                  <a:txBody>
                    <a:bodyPr/>
                    <a:lstStyle/>
                    <a:p>
                      <a:r>
                        <a:rPr lang="en-IN" sz="1500"/>
                        <a:t>Description</a:t>
                      </a:r>
                    </a:p>
                  </a:txBody>
                  <a:tcPr marL="76330" marR="76330" marT="38165" marB="38165" anchor="ctr"/>
                </a:tc>
                <a:extLst>
                  <a:ext uri="{0D108BD9-81ED-4DB2-BD59-A6C34878D82A}">
                    <a16:rowId xmlns:a16="http://schemas.microsoft.com/office/drawing/2014/main" val="1222714961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IN" sz="1500" b="1" dirty="0"/>
                        <a:t>Compute</a:t>
                      </a:r>
                      <a:endParaRPr lang="en-IN" sz="1500" dirty="0"/>
                    </a:p>
                  </a:txBody>
                  <a:tcPr marL="76330" marR="76330" marT="38165" marB="38165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Virtual machines, containers, serverless platforms for running workloads</a:t>
                      </a:r>
                    </a:p>
                  </a:txBody>
                  <a:tcPr marL="76330" marR="76330" marT="38165" marB="38165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6185266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IN" sz="1500" b="1" dirty="0"/>
                        <a:t>Storage</a:t>
                      </a:r>
                      <a:endParaRPr lang="en-IN" sz="1500" dirty="0"/>
                    </a:p>
                  </a:txBody>
                  <a:tcPr marL="76330" marR="76330" marT="38165" marB="38165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Object, file, and block storage options for persistent data</a:t>
                      </a:r>
                    </a:p>
                  </a:txBody>
                  <a:tcPr marL="76330" marR="76330" marT="38165" marB="38165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163148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IN" sz="1500" b="1"/>
                        <a:t>Networking</a:t>
                      </a:r>
                      <a:endParaRPr lang="en-IN" sz="1500"/>
                    </a:p>
                  </a:txBody>
                  <a:tcPr marL="76330" marR="76330" marT="38165" marB="38165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Virtual networks, load balancers, DNS, VPN, and CDNs</a:t>
                      </a:r>
                    </a:p>
                  </a:txBody>
                  <a:tcPr marL="76330" marR="76330" marT="38165" marB="38165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28442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IN" sz="1500" b="1"/>
                        <a:t>Databases</a:t>
                      </a:r>
                      <a:endParaRPr lang="en-IN" sz="1500"/>
                    </a:p>
                  </a:txBody>
                  <a:tcPr marL="76330" marR="76330" marT="38165" marB="38165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Managed SQL, NoSQL, and in-memory databases</a:t>
                      </a:r>
                    </a:p>
                  </a:txBody>
                  <a:tcPr marL="76330" marR="76330" marT="38165" marB="38165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2476859"/>
                  </a:ext>
                </a:extLst>
              </a:tr>
            </a:tbl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67D436-0D24-2E94-79E6-D662651CE6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A9590C-4B04-83D4-E549-DBA135049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726E80-1037-5CD6-3FC8-210420781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8</a:t>
            </a:fld>
            <a:endParaRPr 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DA1FB50-AA33-4594-15FC-537B8B0EABF0}"/>
              </a:ext>
            </a:extLst>
          </p:cNvPr>
          <p:cNvSpPr txBox="1"/>
          <p:nvPr/>
        </p:nvSpPr>
        <p:spPr>
          <a:xfrm rot="16200000">
            <a:off x="-106016" y="2319938"/>
            <a:ext cx="2071938" cy="62826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I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re </a:t>
            </a:r>
          </a:p>
          <a:p>
            <a:pPr algn="ctr"/>
            <a:r>
              <a:rPr lang="en-I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pon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E0145D-7EFF-5D7D-1D75-7E127AFC4161}"/>
              </a:ext>
            </a:extLst>
          </p:cNvPr>
          <p:cNvSpPr txBox="1"/>
          <p:nvPr/>
        </p:nvSpPr>
        <p:spPr>
          <a:xfrm rot="16200000">
            <a:off x="173949" y="4111908"/>
            <a:ext cx="1511999" cy="62826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I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curity &amp; Op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B1C253-1817-1053-32D7-06C7A95B33EB}"/>
              </a:ext>
            </a:extLst>
          </p:cNvPr>
          <p:cNvSpPr txBox="1"/>
          <p:nvPr/>
        </p:nvSpPr>
        <p:spPr>
          <a:xfrm rot="16200000">
            <a:off x="422505" y="5380678"/>
            <a:ext cx="1014888" cy="628265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I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w Tech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B2DCE66-E3FA-50AB-5AB3-CE82D77994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0970172"/>
              </p:ext>
            </p:extLst>
          </p:nvPr>
        </p:nvGraphicFramePr>
        <p:xfrm>
          <a:off x="1244081" y="3670042"/>
          <a:ext cx="10269894" cy="1512000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2894299">
                  <a:extLst>
                    <a:ext uri="{9D8B030D-6E8A-4147-A177-3AD203B41FA5}">
                      <a16:colId xmlns:a16="http://schemas.microsoft.com/office/drawing/2014/main" val="1091010447"/>
                    </a:ext>
                  </a:extLst>
                </a:gridCol>
                <a:gridCol w="7375595">
                  <a:extLst>
                    <a:ext uri="{9D8B030D-6E8A-4147-A177-3AD203B41FA5}">
                      <a16:colId xmlns:a16="http://schemas.microsoft.com/office/drawing/2014/main" val="3310483479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r>
                        <a:rPr lang="en-IN" sz="1500" b="1" dirty="0"/>
                        <a:t>Security &amp; Identity</a:t>
                      </a:r>
                      <a:endParaRPr lang="en-IN" sz="1500" dirty="0"/>
                    </a:p>
                  </a:txBody>
                  <a:tcPr marL="76330" marR="76330" marT="38165" marB="38165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IAM, encryption, firewalls, key management, compliance tools</a:t>
                      </a:r>
                    </a:p>
                  </a:txBody>
                  <a:tcPr marL="76330" marR="76330" marT="38165" marB="38165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134982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IN" sz="1500" b="1" dirty="0"/>
                        <a:t>Monitoring &amp; Logging</a:t>
                      </a:r>
                      <a:endParaRPr lang="en-IN" sz="1500" dirty="0"/>
                    </a:p>
                  </a:txBody>
                  <a:tcPr marL="76330" marR="76330" marT="38165" marB="38165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Observability tools, metrics collection, and log analysis</a:t>
                      </a:r>
                    </a:p>
                  </a:txBody>
                  <a:tcPr marL="76330" marR="76330" marT="38165" marB="38165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816666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IN" sz="1500" b="1" dirty="0"/>
                        <a:t>DevOps &amp; CI/CD</a:t>
                      </a:r>
                      <a:endParaRPr lang="en-IN" sz="1500" dirty="0"/>
                    </a:p>
                  </a:txBody>
                  <a:tcPr marL="76330" marR="76330" marT="38165" marB="38165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500" dirty="0"/>
                        <a:t>Code pipelines, infrastructure as code, monitoring </a:t>
                      </a:r>
                      <a:r>
                        <a:rPr lang="fr-FR" sz="1500" dirty="0" err="1"/>
                        <a:t>integrations</a:t>
                      </a:r>
                      <a:endParaRPr lang="fr-FR" sz="1500" dirty="0"/>
                    </a:p>
                  </a:txBody>
                  <a:tcPr marL="76330" marR="76330" marT="38165" marB="38165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9897777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9CF25A54-2B33-B858-8B70-3FC6FC061D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6251879"/>
              </p:ext>
            </p:extLst>
          </p:nvPr>
        </p:nvGraphicFramePr>
        <p:xfrm>
          <a:off x="1244081" y="5194255"/>
          <a:ext cx="10269894" cy="1008000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2894299">
                  <a:extLst>
                    <a:ext uri="{9D8B030D-6E8A-4147-A177-3AD203B41FA5}">
                      <a16:colId xmlns:a16="http://schemas.microsoft.com/office/drawing/2014/main" val="861971115"/>
                    </a:ext>
                  </a:extLst>
                </a:gridCol>
                <a:gridCol w="7375595">
                  <a:extLst>
                    <a:ext uri="{9D8B030D-6E8A-4147-A177-3AD203B41FA5}">
                      <a16:colId xmlns:a16="http://schemas.microsoft.com/office/drawing/2014/main" val="3364329712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r>
                        <a:rPr lang="en-IN" sz="1500" b="1" dirty="0"/>
                        <a:t>AI/ML</a:t>
                      </a:r>
                      <a:endParaRPr lang="en-IN" sz="1500" dirty="0"/>
                    </a:p>
                  </a:txBody>
                  <a:tcPr marL="76330" marR="76330" marT="38165" marB="38165" anchor="ctr"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Managed ML platforms, pre-trained models, data science tools</a:t>
                      </a:r>
                    </a:p>
                  </a:txBody>
                  <a:tcPr marL="76330" marR="76330" marT="38165" marB="38165" anchor="ctr"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384697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IN" sz="1500" b="1"/>
                        <a:t>IoT &amp; Edge</a:t>
                      </a:r>
                      <a:endParaRPr lang="en-IN" sz="1500"/>
                    </a:p>
                  </a:txBody>
                  <a:tcPr marL="76330" marR="76330" marT="38165" marB="38165" anchor="ctr"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Tools for managing and collecting data from IoT devices</a:t>
                      </a:r>
                    </a:p>
                  </a:txBody>
                  <a:tcPr marL="76330" marR="76330" marT="38165" marB="38165" anchor="ctr"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928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9551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D3EB8-5307-E5E2-D13C-B7D0A6966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oud Deployment Models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0ACED2E2-11A7-4E47-3B8B-E9B8667CC7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1129638"/>
              </p:ext>
            </p:extLst>
          </p:nvPr>
        </p:nvGraphicFramePr>
        <p:xfrm>
          <a:off x="334962" y="1437540"/>
          <a:ext cx="11522076" cy="4191929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2930752">
                  <a:extLst>
                    <a:ext uri="{9D8B030D-6E8A-4147-A177-3AD203B41FA5}">
                      <a16:colId xmlns:a16="http://schemas.microsoft.com/office/drawing/2014/main" val="4291039213"/>
                    </a:ext>
                  </a:extLst>
                </a:gridCol>
                <a:gridCol w="4295662">
                  <a:extLst>
                    <a:ext uri="{9D8B030D-6E8A-4147-A177-3AD203B41FA5}">
                      <a16:colId xmlns:a16="http://schemas.microsoft.com/office/drawing/2014/main" val="4051939297"/>
                    </a:ext>
                  </a:extLst>
                </a:gridCol>
                <a:gridCol w="4295662">
                  <a:extLst>
                    <a:ext uri="{9D8B030D-6E8A-4147-A177-3AD203B41FA5}">
                      <a16:colId xmlns:a16="http://schemas.microsoft.com/office/drawing/2014/main" val="3149668296"/>
                    </a:ext>
                  </a:extLst>
                </a:gridCol>
              </a:tblGrid>
              <a:tr h="540894">
                <a:tc>
                  <a:txBody>
                    <a:bodyPr/>
                    <a:lstStyle/>
                    <a:p>
                      <a:r>
                        <a:rPr lang="en-IN" sz="1800"/>
                        <a:t>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800" dirty="0"/>
                        <a:t>Descrip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800"/>
                        <a:t>Example Use Ca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06980834"/>
                  </a:ext>
                </a:extLst>
              </a:tr>
              <a:tr h="1352235">
                <a:tc>
                  <a:txBody>
                    <a:bodyPr/>
                    <a:lstStyle/>
                    <a:p>
                      <a:r>
                        <a:rPr lang="en-IN" sz="1800" b="1"/>
                        <a:t>Public Cloud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Services offered over the public internet by third-party providers (e.g., AWS, Azure)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Storing machine sensor logs from a factory in Amazon S3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99264211"/>
                  </a:ext>
                </a:extLst>
              </a:tr>
              <a:tr h="1352235">
                <a:tc>
                  <a:txBody>
                    <a:bodyPr/>
                    <a:lstStyle/>
                    <a:p>
                      <a:r>
                        <a:rPr lang="en-IN" sz="1800" b="1" dirty="0"/>
                        <a:t>Private Cloud</a:t>
                      </a:r>
                      <a:endParaRPr lang="en-IN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Exclusive use by a single organization, managed internally or by a vendor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Running a confidential design simulation on internal server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2943818"/>
                  </a:ext>
                </a:extLst>
              </a:tr>
              <a:tr h="946565">
                <a:tc>
                  <a:txBody>
                    <a:bodyPr/>
                    <a:lstStyle/>
                    <a:p>
                      <a:r>
                        <a:rPr lang="en-IN" sz="1800" b="1"/>
                        <a:t>Hybrid Cloud</a:t>
                      </a:r>
                      <a:endParaRPr lang="en-IN" sz="18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Mix of public and private clouds for flexibility and control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Using private cloud for ERP and public cloud for backup storage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68337055"/>
                  </a:ext>
                </a:extLst>
              </a:tr>
            </a:tbl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1283A0-BBB2-470E-1A6D-5DD14C18E1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YYYY-MM-D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9B0202-6D06-7A22-EDDD-FCC2F4F1E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6A57FB-506D-A4ED-667C-6BB16A8BF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065A-EFAC-409A-9F56-D24A0EB303A4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73442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6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33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NUMBER_OF_VALID_LAYOUTS" val="35"/>
  <p:tag name="MIO_EKGUID" val="edeb9cd7-8a1c-412f-aeab-9ed15fc766fe"/>
  <p:tag name="MIO_VERSION" val="10.05.2023 23:04:33"/>
  <p:tag name="MIO_DBID" val="B0276BA4-59E9-4986-A471-827C5A70C980"/>
  <p:tag name="MIO_OBJECTNAME" val="TUV SUD PowerPoint Template EN"/>
  <p:tag name="MIO_LASTDOWNLOADED" val="22.05.2023 11:00:39.693"/>
  <p:tag name="MIO_CDID" val="9a3f0e0d-aec2-40de-9b67-a7516033015b"/>
</p:tagLst>
</file>

<file path=ppt/theme/theme1.xml><?xml version="1.0" encoding="utf-8"?>
<a:theme xmlns:a="http://schemas.openxmlformats.org/drawingml/2006/main" name="Office">
  <a:themeElements>
    <a:clrScheme name="TÜV Süd">
      <a:dk1>
        <a:srgbClr val="000000"/>
      </a:dk1>
      <a:lt1>
        <a:srgbClr val="FFFFFF"/>
      </a:lt1>
      <a:dk2>
        <a:srgbClr val="F2EFED"/>
      </a:dk2>
      <a:lt2>
        <a:srgbClr val="0046AD"/>
      </a:lt2>
      <a:accent1>
        <a:srgbClr val="0B253B"/>
      </a:accent1>
      <a:accent2>
        <a:srgbClr val="0046AD"/>
      </a:accent2>
      <a:accent3>
        <a:srgbClr val="0072CE"/>
      </a:accent3>
      <a:accent4>
        <a:srgbClr val="92C1E9"/>
      </a:accent4>
      <a:accent5>
        <a:srgbClr val="02ECA6"/>
      </a:accent5>
      <a:accent6>
        <a:srgbClr val="FF774B"/>
      </a:accent6>
      <a:hlink>
        <a:srgbClr val="000000"/>
      </a:hlink>
      <a:folHlink>
        <a:srgbClr val="000000"/>
      </a:folHlink>
    </a:clrScheme>
    <a:fontScheme name="TÜV Sü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2EFED"/>
        </a:solidFill>
        <a:ln>
          <a:noFill/>
        </a:ln>
      </a:spPr>
      <a:bodyPr spcFirstLastPara="1" wrap="square" lIns="72000" tIns="72000" rIns="72000" bIns="72000" anchor="t" anchorCtr="0">
        <a:noAutofit/>
      </a:bodyPr>
      <a:lstStyle>
        <a:defPPr marL="171450" indent="-171450" algn="l">
          <a:spcAft>
            <a:spcPts val="600"/>
          </a:spcAft>
          <a:buClr>
            <a:schemeClr val="bg2"/>
          </a:buClr>
          <a:buFont typeface="Arial" panose="020B0604020202020204" pitchFamily="34" charset="0"/>
          <a:buChar char="•"/>
          <a:defRPr sz="1200" dirty="0"/>
        </a:defPPr>
      </a:lst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Brown">
      <a:srgbClr val="C06D3E"/>
    </a:custClr>
    <a:custClr name="Yellow">
      <a:srgbClr val="FFDF19"/>
    </a:custClr>
    <a:custClr name="Tangerine">
      <a:srgbClr val="FAB434"/>
    </a:custClr>
    <a:custClr name="Green">
      <a:srgbClr val="00B171"/>
    </a:custClr>
  </a:custClrLst>
  <a:extLst>
    <a:ext uri="{05A4C25C-085E-4340-85A3-A5531E510DB2}">
      <thm15:themeFamily xmlns:thm15="http://schemas.microsoft.com/office/thememl/2012/main" name="Default Theme.pptx" id="{D38BD9A9-C4F7-45CE-B38F-72917AA8E630}" vid="{DF0D6D9C-76F8-488E-991E-AA6C35302DD6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317B147-812D-4170-BF74-A861AF10A758}">
  <we:reference id="wa104381411" version="2.4.5.0" store="en-US" storeType="OMEX"/>
  <we:alternateReferences>
    <we:reference id="wa104381411" version="2.4.5.0" store="WA104381411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034FB451316C43BE0ED2284F1E9CA1" ma:contentTypeVersion="3" ma:contentTypeDescription="Create a new document." ma:contentTypeScope="" ma:versionID="961f5b086dcb222e3afb44a21f407a5b">
  <xsd:schema xmlns:xsd="http://www.w3.org/2001/XMLSchema" xmlns:xs="http://www.w3.org/2001/XMLSchema" xmlns:p="http://schemas.microsoft.com/office/2006/metadata/properties" xmlns:ns2="5e6a2098-30cc-41e9-ab6f-1bde82815074" targetNamespace="http://schemas.microsoft.com/office/2006/metadata/properties" ma:root="true" ma:fieldsID="708df7a68f34d2e0000fc6145cd7b14c" ns2:_="">
    <xsd:import namespace="5e6a2098-30cc-41e9-ab6f-1bde8281507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6a2098-30cc-41e9-ab6f-1bde828150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852606-2EDA-420D-8968-0C287E2F42A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37FE9CC-C7E7-4074-974D-E17AEAF92F8F}">
  <ds:schemaRefs>
    <ds:schemaRef ds:uri="5e6a2098-30cc-41e9-ab6f-1bde8281507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1E464BD-AE62-4EB5-B3DA-C2E0BA4ED783}">
  <ds:schemaRefs>
    <ds:schemaRef ds:uri="5e6a2098-30cc-41e9-ab6f-1bde8281507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0d2a6053-e113-42e7-9169-f5cbed7a941f}" enabled="0" method="" siteId="{0d2a6053-e113-42e7-9169-f5cbed7a941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393</TotalTime>
  <Words>1345</Words>
  <Application>Microsoft Office PowerPoint</Application>
  <PresentationFormat>Widescreen</PresentationFormat>
  <Paragraphs>257</Paragraphs>
  <Slides>17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Arial Nova</vt:lpstr>
      <vt:lpstr>Arial Nova Light</vt:lpstr>
      <vt:lpstr>Calibri</vt:lpstr>
      <vt:lpstr>Garamond</vt:lpstr>
      <vt:lpstr>Office</vt:lpstr>
      <vt:lpstr>Cloud and Edge Computing </vt:lpstr>
      <vt:lpstr>PowerPoint Presentation</vt:lpstr>
      <vt:lpstr>PowerPoint Presentation</vt:lpstr>
      <vt:lpstr>Introduction to Cloud Computing </vt:lpstr>
      <vt:lpstr>What is Cloud Computing?</vt:lpstr>
      <vt:lpstr>What is Cloud Computing?</vt:lpstr>
      <vt:lpstr>Cloud Computing: Core Characteristics</vt:lpstr>
      <vt:lpstr>Cloud Computing: Core Services</vt:lpstr>
      <vt:lpstr>Cloud Deployment Models</vt:lpstr>
      <vt:lpstr>Cloud Service Models</vt:lpstr>
      <vt:lpstr>Cloud Service Models: IaaS</vt:lpstr>
      <vt:lpstr>Cloud Service Models: PaaS</vt:lpstr>
      <vt:lpstr>Cloud Service Models: SaaS</vt:lpstr>
      <vt:lpstr>Cloud Service Models: Comparison</vt:lpstr>
      <vt:lpstr>Case Study Audi on AWS</vt:lpstr>
      <vt:lpstr>Case Study Audi on AWS</vt:lpstr>
      <vt:lpstr>Thank you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 Type Size Variable  48-80 pt</dc:title>
  <dc:creator>Mößmer, Michael</dc:creator>
  <cp:lastModifiedBy>Anshu Pandey</cp:lastModifiedBy>
  <cp:revision>75</cp:revision>
  <dcterms:created xsi:type="dcterms:W3CDTF">2023-06-01T06:12:03Z</dcterms:created>
  <dcterms:modified xsi:type="dcterms:W3CDTF">2025-07-29T17:1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034FB451316C43BE0ED2284F1E9CA1</vt:lpwstr>
  </property>
  <property fmtid="{D5CDD505-2E9C-101B-9397-08002B2CF9AE}" pid="3" name="ArticulateGUID">
    <vt:lpwstr>70C92442-5C91-4A8D-BFBB-C54AC1C7587A</vt:lpwstr>
  </property>
  <property fmtid="{D5CDD505-2E9C-101B-9397-08002B2CF9AE}" pid="4" name="ArticulatePath">
    <vt:lpwstr>https://tuevsued.sharepoint.com/teams/DAABFriends-GPM-GPQA/Freigegebene Dokumente/GPM - GPQ Weekly/Templates/Templates Product (mandatory)/Training kit/Template Slidedeck</vt:lpwstr>
  </property>
  <property fmtid="{D5CDD505-2E9C-101B-9397-08002B2CF9AE}" pid="5" name="Order">
    <vt:lpwstr>257400.000000000</vt:lpwstr>
  </property>
  <property fmtid="{D5CDD505-2E9C-101B-9397-08002B2CF9AE}" pid="6" name="ComplianceAssetId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</Properties>
</file>